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3" r:id="rId4"/>
  </p:sldMasterIdLst>
  <p:notesMasterIdLst>
    <p:notesMasterId r:id="rId22"/>
  </p:notesMasterIdLst>
  <p:handoutMasterIdLst>
    <p:handoutMasterId r:id="rId23"/>
  </p:handoutMasterIdLst>
  <p:sldIdLst>
    <p:sldId id="2134808465" r:id="rId5"/>
    <p:sldId id="284" r:id="rId6"/>
    <p:sldId id="2134808397" r:id="rId7"/>
    <p:sldId id="2134808396" r:id="rId8"/>
    <p:sldId id="2134808378" r:id="rId9"/>
    <p:sldId id="2134808435" r:id="rId10"/>
    <p:sldId id="2134808438" r:id="rId11"/>
    <p:sldId id="2134808386" r:id="rId12"/>
    <p:sldId id="2134808375" r:id="rId13"/>
    <p:sldId id="2134808466" r:id="rId14"/>
    <p:sldId id="2134808467" r:id="rId15"/>
    <p:sldId id="2134808464" r:id="rId16"/>
    <p:sldId id="2134808436" r:id="rId17"/>
    <p:sldId id="2007579771" r:id="rId18"/>
    <p:sldId id="2134808414" r:id="rId19"/>
    <p:sldId id="2007579838" r:id="rId20"/>
    <p:sldId id="527" r:id="rId21"/>
  </p:sldIdLst>
  <p:sldSz cx="12192000" cy="6858000"/>
  <p:notesSz cx="6858000" cy="9144000"/>
  <p:custDataLst>
    <p:tags r:id="rId2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F2981FC-75C9-1A3A-DA45-EFF61DBE2FBB}" name="Tuscher Laura" initials="TL" userId="S::laura.zwaller@netcom-bw.de::fc9dbf36-9989-4e46-9e85-0f71b5719b7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2A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0FC4DB6-0E6D-45B9-B17F-FE18E591D9E4}" v="5" dt="2024-04-09T14:56:46.648"/>
    <p1510:client id="{9C0FD09B-7792-4F26-A41D-70B0EB1D2F06}" v="3" dt="2024-04-10T12:39:09.06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7" d="100"/>
          <a:sy n="107" d="100"/>
        </p:scale>
        <p:origin x="714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berlandt Benjamin" userId="0d46b80d-43e5-4b86-a9e3-849ff1a9825f" providerId="ADAL" clId="{50FC4DB6-0E6D-45B9-B17F-FE18E591D9E4}"/>
    <pc:docChg chg="undo custSel addSld delSld modSld">
      <pc:chgData name="Haberlandt Benjamin" userId="0d46b80d-43e5-4b86-a9e3-849ff1a9825f" providerId="ADAL" clId="{50FC4DB6-0E6D-45B9-B17F-FE18E591D9E4}" dt="2024-04-09T14:56:46.648" v="435"/>
      <pc:docMkLst>
        <pc:docMk/>
      </pc:docMkLst>
      <pc:sldChg chg="mod modShow">
        <pc:chgData name="Haberlandt Benjamin" userId="0d46b80d-43e5-4b86-a9e3-849ff1a9825f" providerId="ADAL" clId="{50FC4DB6-0E6D-45B9-B17F-FE18E591D9E4}" dt="2024-04-09T14:45:10.868" v="432" actId="729"/>
        <pc:sldMkLst>
          <pc:docMk/>
          <pc:sldMk cId="3030419643" sldId="284"/>
        </pc:sldMkLst>
      </pc:sldChg>
      <pc:sldChg chg="addSp delSp modSp del mod modShow">
        <pc:chgData name="Haberlandt Benjamin" userId="0d46b80d-43e5-4b86-a9e3-849ff1a9825f" providerId="ADAL" clId="{50FC4DB6-0E6D-45B9-B17F-FE18E591D9E4}" dt="2024-04-09T14:34:53.824" v="64" actId="47"/>
        <pc:sldMkLst>
          <pc:docMk/>
          <pc:sldMk cId="3328482795" sldId="527"/>
        </pc:sldMkLst>
        <pc:spChg chg="mod">
          <ac:chgData name="Haberlandt Benjamin" userId="0d46b80d-43e5-4b86-a9e3-849ff1a9825f" providerId="ADAL" clId="{50FC4DB6-0E6D-45B9-B17F-FE18E591D9E4}" dt="2024-04-09T13:22:56.567" v="29" actId="13926"/>
          <ac:spMkLst>
            <pc:docMk/>
            <pc:sldMk cId="3328482795" sldId="527"/>
            <ac:spMk id="6" creationId="{558E5E82-C403-4D1F-9934-B89215527085}"/>
          </ac:spMkLst>
        </pc:spChg>
        <pc:picChg chg="add del mod">
          <ac:chgData name="Haberlandt Benjamin" userId="0d46b80d-43e5-4b86-a9e3-849ff1a9825f" providerId="ADAL" clId="{50FC4DB6-0E6D-45B9-B17F-FE18E591D9E4}" dt="2024-04-09T13:27:05.001" v="54" actId="22"/>
          <ac:picMkLst>
            <pc:docMk/>
            <pc:sldMk cId="3328482795" sldId="527"/>
            <ac:picMk id="5" creationId="{AC51A424-FB52-76EC-5BE8-3AC6CE04A72D}"/>
          </ac:picMkLst>
        </pc:picChg>
        <pc:picChg chg="add del mod">
          <ac:chgData name="Haberlandt Benjamin" userId="0d46b80d-43e5-4b86-a9e3-849ff1a9825f" providerId="ADAL" clId="{50FC4DB6-0E6D-45B9-B17F-FE18E591D9E4}" dt="2024-04-09T14:32:38.285" v="62" actId="478"/>
          <ac:picMkLst>
            <pc:docMk/>
            <pc:sldMk cId="3328482795" sldId="527"/>
            <ac:picMk id="8" creationId="{F4459C55-9567-4509-4BE0-E8EA8B5C6738}"/>
          </ac:picMkLst>
        </pc:picChg>
      </pc:sldChg>
      <pc:sldChg chg="addSp del mod">
        <pc:chgData name="Haberlandt Benjamin" userId="0d46b80d-43e5-4b86-a9e3-849ff1a9825f" providerId="ADAL" clId="{50FC4DB6-0E6D-45B9-B17F-FE18E591D9E4}" dt="2024-04-09T14:39:05.787" v="363" actId="47"/>
        <pc:sldMkLst>
          <pc:docMk/>
          <pc:sldMk cId="303392587" sldId="528"/>
        </pc:sldMkLst>
        <pc:picChg chg="add">
          <ac:chgData name="Haberlandt Benjamin" userId="0d46b80d-43e5-4b86-a9e3-849ff1a9825f" providerId="ADAL" clId="{50FC4DB6-0E6D-45B9-B17F-FE18E591D9E4}" dt="2024-04-09T13:17:23.903" v="1" actId="22"/>
          <ac:picMkLst>
            <pc:docMk/>
            <pc:sldMk cId="303392587" sldId="528"/>
            <ac:picMk id="6" creationId="{56F437A5-CCAB-962A-306D-D8EFCA5843BA}"/>
          </ac:picMkLst>
        </pc:picChg>
      </pc:sldChg>
      <pc:sldChg chg="del">
        <pc:chgData name="Haberlandt Benjamin" userId="0d46b80d-43e5-4b86-a9e3-849ff1a9825f" providerId="ADAL" clId="{50FC4DB6-0E6D-45B9-B17F-FE18E591D9E4}" dt="2024-04-09T14:38:44.970" v="361" actId="47"/>
        <pc:sldMkLst>
          <pc:docMk/>
          <pc:sldMk cId="3905231771" sldId="532"/>
        </pc:sldMkLst>
      </pc:sldChg>
      <pc:sldChg chg="del">
        <pc:chgData name="Haberlandt Benjamin" userId="0d46b80d-43e5-4b86-a9e3-849ff1a9825f" providerId="ADAL" clId="{50FC4DB6-0E6D-45B9-B17F-FE18E591D9E4}" dt="2024-04-09T13:23:57.839" v="33" actId="47"/>
        <pc:sldMkLst>
          <pc:docMk/>
          <pc:sldMk cId="3608803887" sldId="3385"/>
        </pc:sldMkLst>
      </pc:sldChg>
      <pc:sldChg chg="del">
        <pc:chgData name="Haberlandt Benjamin" userId="0d46b80d-43e5-4b86-a9e3-849ff1a9825f" providerId="ADAL" clId="{50FC4DB6-0E6D-45B9-B17F-FE18E591D9E4}" dt="2024-04-09T13:22:26.163" v="10" actId="47"/>
        <pc:sldMkLst>
          <pc:docMk/>
          <pc:sldMk cId="279148554" sldId="2007579795"/>
        </pc:sldMkLst>
      </pc:sldChg>
      <pc:sldChg chg="del">
        <pc:chgData name="Haberlandt Benjamin" userId="0d46b80d-43e5-4b86-a9e3-849ff1a9825f" providerId="ADAL" clId="{50FC4DB6-0E6D-45B9-B17F-FE18E591D9E4}" dt="2024-04-09T13:22:21.089" v="9" actId="47"/>
        <pc:sldMkLst>
          <pc:docMk/>
          <pc:sldMk cId="3872870824" sldId="2007579796"/>
        </pc:sldMkLst>
      </pc:sldChg>
      <pc:sldChg chg="del">
        <pc:chgData name="Haberlandt Benjamin" userId="0d46b80d-43e5-4b86-a9e3-849ff1a9825f" providerId="ADAL" clId="{50FC4DB6-0E6D-45B9-B17F-FE18E591D9E4}" dt="2024-04-09T13:27:23.312" v="55" actId="47"/>
        <pc:sldMkLst>
          <pc:docMk/>
          <pc:sldMk cId="1933116128" sldId="2007579848"/>
        </pc:sldMkLst>
      </pc:sldChg>
      <pc:sldChg chg="del">
        <pc:chgData name="Haberlandt Benjamin" userId="0d46b80d-43e5-4b86-a9e3-849ff1a9825f" providerId="ADAL" clId="{50FC4DB6-0E6D-45B9-B17F-FE18E591D9E4}" dt="2024-04-09T13:27:24.003" v="56" actId="47"/>
        <pc:sldMkLst>
          <pc:docMk/>
          <pc:sldMk cId="137973490" sldId="2007579854"/>
        </pc:sldMkLst>
      </pc:sldChg>
      <pc:sldChg chg="del">
        <pc:chgData name="Haberlandt Benjamin" userId="0d46b80d-43e5-4b86-a9e3-849ff1a9825f" providerId="ADAL" clId="{50FC4DB6-0E6D-45B9-B17F-FE18E591D9E4}" dt="2024-04-09T13:21:16.285" v="7" actId="47"/>
        <pc:sldMkLst>
          <pc:docMk/>
          <pc:sldMk cId="4112143481" sldId="2134808371"/>
        </pc:sldMkLst>
      </pc:sldChg>
      <pc:sldChg chg="addSp delSp del mod">
        <pc:chgData name="Haberlandt Benjamin" userId="0d46b80d-43e5-4b86-a9e3-849ff1a9825f" providerId="ADAL" clId="{50FC4DB6-0E6D-45B9-B17F-FE18E591D9E4}" dt="2024-04-09T14:56:29.520" v="434" actId="47"/>
        <pc:sldMkLst>
          <pc:docMk/>
          <pc:sldMk cId="2473478581" sldId="2134808374"/>
        </pc:sldMkLst>
        <pc:picChg chg="add del">
          <ac:chgData name="Haberlandt Benjamin" userId="0d46b80d-43e5-4b86-a9e3-849ff1a9825f" providerId="ADAL" clId="{50FC4DB6-0E6D-45B9-B17F-FE18E591D9E4}" dt="2024-04-09T13:26:27.577" v="36" actId="22"/>
          <ac:picMkLst>
            <pc:docMk/>
            <pc:sldMk cId="2473478581" sldId="2134808374"/>
            <ac:picMk id="12" creationId="{9B62E803-F56F-4F6E-53D2-4F5109E0FA50}"/>
          </ac:picMkLst>
        </pc:picChg>
        <pc:picChg chg="add del">
          <ac:chgData name="Haberlandt Benjamin" userId="0d46b80d-43e5-4b86-a9e3-849ff1a9825f" providerId="ADAL" clId="{50FC4DB6-0E6D-45B9-B17F-FE18E591D9E4}" dt="2024-04-09T13:26:31.417" v="38" actId="22"/>
          <ac:picMkLst>
            <pc:docMk/>
            <pc:sldMk cId="2473478581" sldId="2134808374"/>
            <ac:picMk id="16" creationId="{3D229E7A-3335-EE95-6671-F41DCBD1A442}"/>
          </ac:picMkLst>
        </pc:picChg>
      </pc:sldChg>
      <pc:sldChg chg="del">
        <pc:chgData name="Haberlandt Benjamin" userId="0d46b80d-43e5-4b86-a9e3-849ff1a9825f" providerId="ADAL" clId="{50FC4DB6-0E6D-45B9-B17F-FE18E591D9E4}" dt="2024-04-09T14:42:41.678" v="428" actId="47"/>
        <pc:sldMkLst>
          <pc:docMk/>
          <pc:sldMk cId="994304743" sldId="2134808387"/>
        </pc:sldMkLst>
      </pc:sldChg>
      <pc:sldChg chg="del">
        <pc:chgData name="Haberlandt Benjamin" userId="0d46b80d-43e5-4b86-a9e3-849ff1a9825f" providerId="ADAL" clId="{50FC4DB6-0E6D-45B9-B17F-FE18E591D9E4}" dt="2024-04-09T13:23:53.312" v="32" actId="47"/>
        <pc:sldMkLst>
          <pc:docMk/>
          <pc:sldMk cId="1134676438" sldId="2134808388"/>
        </pc:sldMkLst>
      </pc:sldChg>
      <pc:sldChg chg="mod modShow">
        <pc:chgData name="Haberlandt Benjamin" userId="0d46b80d-43e5-4b86-a9e3-849ff1a9825f" providerId="ADAL" clId="{50FC4DB6-0E6D-45B9-B17F-FE18E591D9E4}" dt="2024-04-09T13:17:33.272" v="2" actId="729"/>
        <pc:sldMkLst>
          <pc:docMk/>
          <pc:sldMk cId="2869103132" sldId="2134808397"/>
        </pc:sldMkLst>
      </pc:sldChg>
      <pc:sldChg chg="del">
        <pc:chgData name="Haberlandt Benjamin" userId="0d46b80d-43e5-4b86-a9e3-849ff1a9825f" providerId="ADAL" clId="{50FC4DB6-0E6D-45B9-B17F-FE18E591D9E4}" dt="2024-04-09T13:27:24.700" v="57" actId="47"/>
        <pc:sldMkLst>
          <pc:docMk/>
          <pc:sldMk cId="3259118379" sldId="2134808404"/>
        </pc:sldMkLst>
      </pc:sldChg>
      <pc:sldChg chg="mod modShow">
        <pc:chgData name="Haberlandt Benjamin" userId="0d46b80d-43e5-4b86-a9e3-849ff1a9825f" providerId="ADAL" clId="{50FC4DB6-0E6D-45B9-B17F-FE18E591D9E4}" dt="2024-04-09T13:23:29.838" v="31" actId="729"/>
        <pc:sldMkLst>
          <pc:docMk/>
          <pc:sldMk cId="4151058443" sldId="2134808414"/>
        </pc:sldMkLst>
      </pc:sldChg>
      <pc:sldChg chg="delSp modSp add mod">
        <pc:chgData name="Haberlandt Benjamin" userId="0d46b80d-43e5-4b86-a9e3-849ff1a9825f" providerId="ADAL" clId="{50FC4DB6-0E6D-45B9-B17F-FE18E591D9E4}" dt="2024-04-09T14:42:55.059" v="431" actId="478"/>
        <pc:sldMkLst>
          <pc:docMk/>
          <pc:sldMk cId="1757231483" sldId="2134808435"/>
        </pc:sldMkLst>
        <pc:spChg chg="del mod">
          <ac:chgData name="Haberlandt Benjamin" userId="0d46b80d-43e5-4b86-a9e3-849ff1a9825f" providerId="ADAL" clId="{50FC4DB6-0E6D-45B9-B17F-FE18E591D9E4}" dt="2024-04-09T14:42:55.059" v="431" actId="478"/>
          <ac:spMkLst>
            <pc:docMk/>
            <pc:sldMk cId="1757231483" sldId="2134808435"/>
            <ac:spMk id="5" creationId="{756A2E8C-D1F8-82CE-E8F7-ED1C26203849}"/>
          </ac:spMkLst>
        </pc:spChg>
      </pc:sldChg>
      <pc:sldChg chg="del">
        <pc:chgData name="Haberlandt Benjamin" userId="0d46b80d-43e5-4b86-a9e3-849ff1a9825f" providerId="ADAL" clId="{50FC4DB6-0E6D-45B9-B17F-FE18E591D9E4}" dt="2024-04-09T13:23:04.566" v="30" actId="47"/>
        <pc:sldMkLst>
          <pc:docMk/>
          <pc:sldMk cId="3492680508" sldId="2134808437"/>
        </pc:sldMkLst>
      </pc:sldChg>
      <pc:sldChg chg="delSp mod">
        <pc:chgData name="Haberlandt Benjamin" userId="0d46b80d-43e5-4b86-a9e3-849ff1a9825f" providerId="ADAL" clId="{50FC4DB6-0E6D-45B9-B17F-FE18E591D9E4}" dt="2024-04-09T13:21:31.808" v="8" actId="478"/>
        <pc:sldMkLst>
          <pc:docMk/>
          <pc:sldMk cId="3080413597" sldId="2134808438"/>
        </pc:sldMkLst>
        <pc:spChg chg="del">
          <ac:chgData name="Haberlandt Benjamin" userId="0d46b80d-43e5-4b86-a9e3-849ff1a9825f" providerId="ADAL" clId="{50FC4DB6-0E6D-45B9-B17F-FE18E591D9E4}" dt="2024-04-09T13:21:31.808" v="8" actId="478"/>
          <ac:spMkLst>
            <pc:docMk/>
            <pc:sldMk cId="3080413597" sldId="2134808438"/>
            <ac:spMk id="5" creationId="{8F8F479A-EF77-4625-F11F-691BE73FA3ED}"/>
          </ac:spMkLst>
        </pc:spChg>
      </pc:sldChg>
      <pc:sldChg chg="del">
        <pc:chgData name="Haberlandt Benjamin" userId="0d46b80d-43e5-4b86-a9e3-849ff1a9825f" providerId="ADAL" clId="{50FC4DB6-0E6D-45B9-B17F-FE18E591D9E4}" dt="2024-04-09T13:20:22.326" v="3" actId="47"/>
        <pc:sldMkLst>
          <pc:docMk/>
          <pc:sldMk cId="731999941" sldId="2134808439"/>
        </pc:sldMkLst>
      </pc:sldChg>
      <pc:sldChg chg="new del">
        <pc:chgData name="Haberlandt Benjamin" userId="0d46b80d-43e5-4b86-a9e3-849ff1a9825f" providerId="ADAL" clId="{50FC4DB6-0E6D-45B9-B17F-FE18E591D9E4}" dt="2024-04-09T14:32:15.632" v="59" actId="47"/>
        <pc:sldMkLst>
          <pc:docMk/>
          <pc:sldMk cId="2865437653" sldId="2134808439"/>
        </pc:sldMkLst>
      </pc:sldChg>
      <pc:sldChg chg="addSp delSp modSp new del mod">
        <pc:chgData name="Haberlandt Benjamin" userId="0d46b80d-43e5-4b86-a9e3-849ff1a9825f" providerId="ADAL" clId="{50FC4DB6-0E6D-45B9-B17F-FE18E591D9E4}" dt="2024-04-09T13:27:02.291" v="50" actId="680"/>
        <pc:sldMkLst>
          <pc:docMk/>
          <pc:sldMk cId="3601034316" sldId="2134808439"/>
        </pc:sldMkLst>
        <pc:picChg chg="add del mod">
          <ac:chgData name="Haberlandt Benjamin" userId="0d46b80d-43e5-4b86-a9e3-849ff1a9825f" providerId="ADAL" clId="{50FC4DB6-0E6D-45B9-B17F-FE18E591D9E4}" dt="2024-04-09T13:27:01.586" v="49" actId="22"/>
          <ac:picMkLst>
            <pc:docMk/>
            <pc:sldMk cId="3601034316" sldId="2134808439"/>
            <ac:picMk id="6" creationId="{402FC5FE-984E-332D-BD1E-92237D457EF1}"/>
          </ac:picMkLst>
        </pc:picChg>
      </pc:sldChg>
      <pc:sldChg chg="del">
        <pc:chgData name="Haberlandt Benjamin" userId="0d46b80d-43e5-4b86-a9e3-849ff1a9825f" providerId="ADAL" clId="{50FC4DB6-0E6D-45B9-B17F-FE18E591D9E4}" dt="2024-04-09T13:20:23.160" v="4" actId="47"/>
        <pc:sldMkLst>
          <pc:docMk/>
          <pc:sldMk cId="2560392259" sldId="2134808440"/>
        </pc:sldMkLst>
      </pc:sldChg>
      <pc:sldChg chg="del">
        <pc:chgData name="Haberlandt Benjamin" userId="0d46b80d-43e5-4b86-a9e3-849ff1a9825f" providerId="ADAL" clId="{50FC4DB6-0E6D-45B9-B17F-FE18E591D9E4}" dt="2024-04-09T13:20:23.800" v="5" actId="47"/>
        <pc:sldMkLst>
          <pc:docMk/>
          <pc:sldMk cId="2901049502" sldId="2134808441"/>
        </pc:sldMkLst>
      </pc:sldChg>
      <pc:sldChg chg="del">
        <pc:chgData name="Haberlandt Benjamin" userId="0d46b80d-43e5-4b86-a9e3-849ff1a9825f" providerId="ADAL" clId="{50FC4DB6-0E6D-45B9-B17F-FE18E591D9E4}" dt="2024-04-09T13:24:04.254" v="34" actId="47"/>
        <pc:sldMkLst>
          <pc:docMk/>
          <pc:sldMk cId="716635382" sldId="2134808442"/>
        </pc:sldMkLst>
      </pc:sldChg>
      <pc:sldChg chg="del">
        <pc:chgData name="Haberlandt Benjamin" userId="0d46b80d-43e5-4b86-a9e3-849ff1a9825f" providerId="ADAL" clId="{50FC4DB6-0E6D-45B9-B17F-FE18E591D9E4}" dt="2024-04-09T13:20:24.417" v="6" actId="47"/>
        <pc:sldMkLst>
          <pc:docMk/>
          <pc:sldMk cId="3085642750" sldId="2134808443"/>
        </pc:sldMkLst>
      </pc:sldChg>
      <pc:sldChg chg="delSp modSp add mod">
        <pc:chgData name="Haberlandt Benjamin" userId="0d46b80d-43e5-4b86-a9e3-849ff1a9825f" providerId="ADAL" clId="{50FC4DB6-0E6D-45B9-B17F-FE18E591D9E4}" dt="2024-04-09T14:38:32.389" v="360" actId="1038"/>
        <pc:sldMkLst>
          <pc:docMk/>
          <pc:sldMk cId="1459936238" sldId="2134808464"/>
        </pc:sldMkLst>
        <pc:spChg chg="mod">
          <ac:chgData name="Haberlandt Benjamin" userId="0d46b80d-43e5-4b86-a9e3-849ff1a9825f" providerId="ADAL" clId="{50FC4DB6-0E6D-45B9-B17F-FE18E591D9E4}" dt="2024-04-09T14:37:51.447" v="355" actId="1035"/>
          <ac:spMkLst>
            <pc:docMk/>
            <pc:sldMk cId="1459936238" sldId="2134808464"/>
            <ac:spMk id="60" creationId="{B584FEC3-E22D-A13D-1FF8-1B744B2DCF31}"/>
          </ac:spMkLst>
        </pc:spChg>
        <pc:grpChg chg="mod">
          <ac:chgData name="Haberlandt Benjamin" userId="0d46b80d-43e5-4b86-a9e3-849ff1a9825f" providerId="ADAL" clId="{50FC4DB6-0E6D-45B9-B17F-FE18E591D9E4}" dt="2024-04-09T14:38:32.389" v="360" actId="1038"/>
          <ac:grpSpMkLst>
            <pc:docMk/>
            <pc:sldMk cId="1459936238" sldId="2134808464"/>
            <ac:grpSpMk id="67" creationId="{26890E99-DADB-00FA-5697-AF4ACFE9D343}"/>
          </ac:grpSpMkLst>
        </pc:grpChg>
        <pc:picChg chg="del">
          <ac:chgData name="Haberlandt Benjamin" userId="0d46b80d-43e5-4b86-a9e3-849ff1a9825f" providerId="ADAL" clId="{50FC4DB6-0E6D-45B9-B17F-FE18E591D9E4}" dt="2024-04-09T14:34:55.435" v="65" actId="478"/>
          <ac:picMkLst>
            <pc:docMk/>
            <pc:sldMk cId="1459936238" sldId="2134808464"/>
            <ac:picMk id="59" creationId="{60F3C19E-88BA-7058-0ECA-5A3C6F7B206F}"/>
          </ac:picMkLst>
        </pc:picChg>
      </pc:sldChg>
      <pc:sldChg chg="modSp add mod">
        <pc:chgData name="Haberlandt Benjamin" userId="0d46b80d-43e5-4b86-a9e3-849ff1a9825f" providerId="ADAL" clId="{50FC4DB6-0E6D-45B9-B17F-FE18E591D9E4}" dt="2024-04-09T14:39:34.975" v="425" actId="20577"/>
        <pc:sldMkLst>
          <pc:docMk/>
          <pc:sldMk cId="3501468528" sldId="2134808465"/>
        </pc:sldMkLst>
        <pc:spChg chg="mod">
          <ac:chgData name="Haberlandt Benjamin" userId="0d46b80d-43e5-4b86-a9e3-849ff1a9825f" providerId="ADAL" clId="{50FC4DB6-0E6D-45B9-B17F-FE18E591D9E4}" dt="2024-04-09T14:39:13.550" v="374" actId="20577"/>
          <ac:spMkLst>
            <pc:docMk/>
            <pc:sldMk cId="3501468528" sldId="2134808465"/>
            <ac:spMk id="10" creationId="{0BA17D50-B3B8-4603-85F4-C36A245DBF03}"/>
          </ac:spMkLst>
        </pc:spChg>
        <pc:spChg chg="mod">
          <ac:chgData name="Haberlandt Benjamin" userId="0d46b80d-43e5-4b86-a9e3-849ff1a9825f" providerId="ADAL" clId="{50FC4DB6-0E6D-45B9-B17F-FE18E591D9E4}" dt="2024-04-09T14:39:34.975" v="425" actId="20577"/>
          <ac:spMkLst>
            <pc:docMk/>
            <pc:sldMk cId="3501468528" sldId="2134808465"/>
            <ac:spMk id="11" creationId="{1246060D-EE70-B7B8-F844-ECCD069556BF}"/>
          </ac:spMkLst>
        </pc:spChg>
      </pc:sldChg>
      <pc:sldChg chg="add">
        <pc:chgData name="Haberlandt Benjamin" userId="0d46b80d-43e5-4b86-a9e3-849ff1a9825f" providerId="ADAL" clId="{50FC4DB6-0E6D-45B9-B17F-FE18E591D9E4}" dt="2024-04-09T14:56:26.996" v="433"/>
        <pc:sldMkLst>
          <pc:docMk/>
          <pc:sldMk cId="2388371516" sldId="2134808466"/>
        </pc:sldMkLst>
      </pc:sldChg>
      <pc:sldChg chg="add">
        <pc:chgData name="Haberlandt Benjamin" userId="0d46b80d-43e5-4b86-a9e3-849ff1a9825f" providerId="ADAL" clId="{50FC4DB6-0E6D-45B9-B17F-FE18E591D9E4}" dt="2024-04-09T14:56:46.648" v="435"/>
        <pc:sldMkLst>
          <pc:docMk/>
          <pc:sldMk cId="3120524741" sldId="2134808467"/>
        </pc:sldMkLst>
      </pc:sldChg>
    </pc:docChg>
  </pc:docChgLst>
  <pc:docChgLst>
    <pc:chgData name="Haberlandt Benjamin" userId="0d46b80d-43e5-4b86-a9e3-849ff1a9825f" providerId="ADAL" clId="{9C0FD09B-7792-4F26-A41D-70B0EB1D2F06}"/>
    <pc:docChg chg="undo custSel addSld modSld">
      <pc:chgData name="Haberlandt Benjamin" userId="0d46b80d-43e5-4b86-a9e3-849ff1a9825f" providerId="ADAL" clId="{9C0FD09B-7792-4F26-A41D-70B0EB1D2F06}" dt="2024-04-10T12:39:09.077" v="210" actId="3626"/>
      <pc:docMkLst>
        <pc:docMk/>
      </pc:docMkLst>
      <pc:sldChg chg="delSp modSp add mod">
        <pc:chgData name="Haberlandt Benjamin" userId="0d46b80d-43e5-4b86-a9e3-849ff1a9825f" providerId="ADAL" clId="{9C0FD09B-7792-4F26-A41D-70B0EB1D2F06}" dt="2024-04-10T12:39:09.077" v="210" actId="3626"/>
        <pc:sldMkLst>
          <pc:docMk/>
          <pc:sldMk cId="3328482795" sldId="527"/>
        </pc:sldMkLst>
        <pc:spChg chg="mod">
          <ac:chgData name="Haberlandt Benjamin" userId="0d46b80d-43e5-4b86-a9e3-849ff1a9825f" providerId="ADAL" clId="{9C0FD09B-7792-4F26-A41D-70B0EB1D2F06}" dt="2024-04-10T12:37:01.328" v="138" actId="14100"/>
          <ac:spMkLst>
            <pc:docMk/>
            <pc:sldMk cId="3328482795" sldId="527"/>
            <ac:spMk id="2" creationId="{209D61D8-2133-8784-7F6F-4E71DFA82338}"/>
          </ac:spMkLst>
        </pc:spChg>
        <pc:spChg chg="mod">
          <ac:chgData name="Haberlandt Benjamin" userId="0d46b80d-43e5-4b86-a9e3-849ff1a9825f" providerId="ADAL" clId="{9C0FD09B-7792-4F26-A41D-70B0EB1D2F06}" dt="2024-04-10T12:39:09.077" v="210" actId="3626"/>
          <ac:spMkLst>
            <pc:docMk/>
            <pc:sldMk cId="3328482795" sldId="527"/>
            <ac:spMk id="6" creationId="{558E5E82-C403-4D1F-9934-B89215527085}"/>
          </ac:spMkLst>
        </pc:spChg>
        <pc:spChg chg="del">
          <ac:chgData name="Haberlandt Benjamin" userId="0d46b80d-43e5-4b86-a9e3-849ff1a9825f" providerId="ADAL" clId="{9C0FD09B-7792-4F26-A41D-70B0EB1D2F06}" dt="2024-04-10T12:35:52.829" v="53" actId="478"/>
          <ac:spMkLst>
            <pc:docMk/>
            <pc:sldMk cId="3328482795" sldId="527"/>
            <ac:spMk id="8" creationId="{93E113A5-F942-AD2C-328F-6B76C2FEE8B4}"/>
          </ac:spMkLst>
        </pc:spChg>
      </pc:sldChg>
      <pc:sldChg chg="mod modShow">
        <pc:chgData name="Haberlandt Benjamin" userId="0d46b80d-43e5-4b86-a9e3-849ff1a9825f" providerId="ADAL" clId="{9C0FD09B-7792-4F26-A41D-70B0EB1D2F06}" dt="2024-04-10T12:35:41.864" v="50" actId="729"/>
        <pc:sldMkLst>
          <pc:docMk/>
          <pc:sldMk cId="4179898845" sldId="2007579771"/>
        </pc:sldMkLst>
      </pc:sldChg>
      <pc:sldChg chg="mod modShow">
        <pc:chgData name="Haberlandt Benjamin" userId="0d46b80d-43e5-4b86-a9e3-849ff1a9825f" providerId="ADAL" clId="{9C0FD09B-7792-4F26-A41D-70B0EB1D2F06}" dt="2024-04-10T12:35:46.519" v="52" actId="729"/>
        <pc:sldMkLst>
          <pc:docMk/>
          <pc:sldMk cId="1921009082" sldId="2007579838"/>
        </pc:sldMkLst>
      </pc:sldChg>
      <pc:sldChg chg="mod modShow">
        <pc:chgData name="Haberlandt Benjamin" userId="0d46b80d-43e5-4b86-a9e3-849ff1a9825f" providerId="ADAL" clId="{9C0FD09B-7792-4F26-A41D-70B0EB1D2F06}" dt="2024-04-10T12:35:43.922" v="51" actId="729"/>
        <pc:sldMkLst>
          <pc:docMk/>
          <pc:sldMk cId="4151058443" sldId="2134808414"/>
        </pc:sldMkLst>
      </pc:sldChg>
      <pc:sldChg chg="mod modShow">
        <pc:chgData name="Haberlandt Benjamin" userId="0d46b80d-43e5-4b86-a9e3-849ff1a9825f" providerId="ADAL" clId="{9C0FD09B-7792-4F26-A41D-70B0EB1D2F06}" dt="2024-04-10T12:35:39.849" v="49" actId="729"/>
        <pc:sldMkLst>
          <pc:docMk/>
          <pc:sldMk cId="940573225" sldId="2134808436"/>
        </pc:sldMkLst>
      </pc:sldChg>
      <pc:sldChg chg="addSp modSp mod">
        <pc:chgData name="Haberlandt Benjamin" userId="0d46b80d-43e5-4b86-a9e3-849ff1a9825f" providerId="ADAL" clId="{9C0FD09B-7792-4F26-A41D-70B0EB1D2F06}" dt="2024-04-10T12:20:26.003" v="47" actId="108"/>
        <pc:sldMkLst>
          <pc:docMk/>
          <pc:sldMk cId="1459936238" sldId="2134808464"/>
        </pc:sldMkLst>
        <pc:spChg chg="mod">
          <ac:chgData name="Haberlandt Benjamin" userId="0d46b80d-43e5-4b86-a9e3-849ff1a9825f" providerId="ADAL" clId="{9C0FD09B-7792-4F26-A41D-70B0EB1D2F06}" dt="2024-04-10T12:20:26.003" v="47" actId="108"/>
          <ac:spMkLst>
            <pc:docMk/>
            <pc:sldMk cId="1459936238" sldId="2134808464"/>
            <ac:spMk id="60" creationId="{B584FEC3-E22D-A13D-1FF8-1B744B2DCF31}"/>
          </ac:spMkLst>
        </pc:spChg>
        <pc:picChg chg="add mod">
          <ac:chgData name="Haberlandt Benjamin" userId="0d46b80d-43e5-4b86-a9e3-849ff1a9825f" providerId="ADAL" clId="{9C0FD09B-7792-4F26-A41D-70B0EB1D2F06}" dt="2024-04-10T12:19:55.143" v="17" actId="1076"/>
          <ac:picMkLst>
            <pc:docMk/>
            <pc:sldMk cId="1459936238" sldId="2134808464"/>
            <ac:picMk id="7" creationId="{3D6F4D3E-FDE6-65EC-C18F-E9A78A9C2B40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5BC8D5B3-5D05-44FE-9539-97CAF417B32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BFF6DCE-602F-4FA4-A2AD-B14D2A98E9A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A046A3-4902-4EC9-95D7-A3EDABBB9CA3}" type="datetimeFigureOut">
              <a:rPr lang="de-DE" smtClean="0"/>
              <a:t>10.04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6ADBCEA-6581-46DF-AB13-E4EC45AFB67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97A7C86-2A85-4165-819B-9DE8FC8549D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61F8CC-7071-40CE-8835-ECFAFB1E839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45340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97160" y="8856984"/>
            <a:ext cx="2971800" cy="1795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6021288" y="8856984"/>
            <a:ext cx="739552" cy="1795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/>
            </a:lvl1pPr>
          </a:lstStyle>
          <a:p>
            <a:fld id="{1FB20EB5-88DF-4EA6-8586-32EED35EC0E5}" type="slidenum">
              <a:rPr lang="de-DE" smtClean="0"/>
              <a:t>‹Nr.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5C2C10B-0819-4C9E-AC5E-FBB29FBE4A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9424" y="755576"/>
            <a:ext cx="1412776" cy="251108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797152" y="8856984"/>
            <a:ext cx="1152128" cy="17951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/>
            </a:lvl1pPr>
          </a:lstStyle>
          <a:p>
            <a:fld id="{31A75A65-F437-4B55-8084-F9CC046EDB3A}" type="datetimeFigureOut">
              <a:rPr lang="de-DE" smtClean="0"/>
              <a:t>10.04.20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74720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200"/>
      </a:spcAft>
      <a:defRPr sz="1200" b="1" kern="1200">
        <a:solidFill>
          <a:schemeClr val="tx2"/>
        </a:solidFill>
        <a:latin typeface="+mj-lt"/>
        <a:ea typeface="+mn-ea"/>
        <a:cs typeface="+mn-cs"/>
      </a:defRPr>
    </a:lvl1pPr>
    <a:lvl2pPr marL="0" indent="0" algn="l" defTabSz="914400" rtl="0" eaLnBrk="1" latinLnBrk="0" hangingPunct="1">
      <a:spcAft>
        <a:spcPts val="200"/>
      </a:spcAft>
      <a:buClr>
        <a:schemeClr val="bg2"/>
      </a:buClr>
      <a:buFont typeface="Wingdings 2" panose="05020102010507070707" pitchFamily="18" charset="2"/>
      <a:buNone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70000" indent="-270000" algn="l" defTabSz="914400" rtl="0" eaLnBrk="1" latinLnBrk="0" hangingPunct="1">
      <a:spcAft>
        <a:spcPts val="200"/>
      </a:spcAft>
      <a:buClr>
        <a:schemeClr val="bg2"/>
      </a:buClr>
      <a:buFont typeface="Wingdings 2" panose="05020102010507070707" pitchFamily="18" charset="2"/>
      <a:buChar char="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0000" indent="-270000" algn="l" defTabSz="914400" rtl="0" eaLnBrk="1" latinLnBrk="0" hangingPunct="1">
      <a:spcAft>
        <a:spcPts val="200"/>
      </a:spcAft>
      <a:buClr>
        <a:schemeClr val="accent1"/>
      </a:buClr>
      <a:buFont typeface="Wingdings 2" panose="05020102010507070707" pitchFamily="18" charset="2"/>
      <a:buChar char="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10000" indent="-270000" algn="l" defTabSz="914400" rtl="0" eaLnBrk="1" latinLnBrk="0" hangingPunct="1">
      <a:spcAft>
        <a:spcPts val="200"/>
      </a:spcAft>
      <a:buClr>
        <a:schemeClr val="accent1"/>
      </a:buClr>
      <a:buFont typeface="Wingdings 2" panose="05020102010507070707" pitchFamily="18" charset="2"/>
      <a:buChar char="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B20EB5-88DF-4EA6-8586-32EED35EC0E5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646155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b="0">
                <a:solidFill>
                  <a:schemeClr val="accent6"/>
                </a:solidFill>
                <a:latin typeface="+mn-lt"/>
                <a:cs typeface="+mj-cs"/>
              </a:rPr>
              <a:t>Listenpreise: Tarife 100, 100 +, 300, 300 +, 500, 500 +, 1.000, 1.000 + </a:t>
            </a:r>
            <a:endParaRPr lang="de-DE" b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B20EB5-88DF-4EA6-8586-32EED35EC0E5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86270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5617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900" b="0" err="1">
                <a:solidFill>
                  <a:schemeClr val="accent5"/>
                </a:solidFill>
                <a:latin typeface="+mn-lt"/>
                <a:cs typeface="EnBW DIN Pro" panose="020B0504020101020102" pitchFamily="34" charset="0"/>
              </a:rPr>
              <a:t>NetCom</a:t>
            </a:r>
            <a:r>
              <a:rPr lang="de-DE" sz="900" b="0">
                <a:solidFill>
                  <a:schemeClr val="accent5"/>
                </a:solidFill>
                <a:latin typeface="+mn-lt"/>
                <a:cs typeface="EnBW DIN Pro" panose="020B0504020101020102" pitchFamily="34" charset="0"/>
              </a:rPr>
              <a:t> BW: vollintegrierter Telekommunikationsanbieter von </a:t>
            </a:r>
            <a:r>
              <a:rPr lang="de-DE" sz="900" b="0">
                <a:solidFill>
                  <a:schemeClr val="accent5"/>
                </a:solidFill>
                <a:latin typeface="+mn-lt"/>
                <a:cs typeface="EnBW DIN Pro Medium" panose="020B0604020101020102" pitchFamily="34" charset="0"/>
              </a:rPr>
              <a:t>Highspeed-Glasfaserinfrastruktur </a:t>
            </a:r>
            <a:r>
              <a:rPr lang="de-DE" sz="900" b="0">
                <a:solidFill>
                  <a:schemeClr val="accent5"/>
                </a:solidFill>
                <a:latin typeface="+mn-lt"/>
                <a:cs typeface="EnBW DIN Pro" panose="020B0504020101020102" pitchFamily="34" charset="0"/>
              </a:rPr>
              <a:t>mit großer Kompetenz im Betrieb </a:t>
            </a:r>
            <a:r>
              <a:rPr lang="de-DE" sz="900" b="0">
                <a:solidFill>
                  <a:schemeClr val="accent5"/>
                </a:solidFill>
                <a:latin typeface="+mn-lt"/>
                <a:cs typeface="EnBW DIN Pro Medium" panose="020B0604020101020102" pitchFamily="34" charset="0"/>
              </a:rPr>
              <a:t>kritischer Infrastrukturen</a:t>
            </a:r>
            <a:r>
              <a:rPr lang="de-DE" sz="900" b="0">
                <a:solidFill>
                  <a:schemeClr val="accent5"/>
                </a:solidFill>
                <a:latin typeface="+mn-lt"/>
                <a:cs typeface="EnBW DIN Pro" panose="020B0504020101020102" pitchFamily="34" charset="0"/>
              </a:rPr>
              <a:t>.</a:t>
            </a:r>
            <a:endParaRPr lang="de-DE" sz="900" b="0">
              <a:solidFill>
                <a:schemeClr val="accent5"/>
              </a:solidFill>
              <a:latin typeface="+mn-lt"/>
              <a:ea typeface="DIN-Regular" panose="020B0500010101010101" pitchFamily="34" charset="0"/>
              <a:cs typeface="EnBW DIN Pro" panose="020B0504020101020102" pitchFamily="34" charset="0"/>
            </a:endParaRPr>
          </a:p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000806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lang="de-DE" b="0"/>
              <a:t>LWL-Hausanschluss</a:t>
            </a:r>
            <a:r>
              <a:rPr lang="de-DE" b="0" baseline="0"/>
              <a:t> BLS</a:t>
            </a:r>
            <a:endParaRPr lang="de-DE" b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B20EB5-88DF-4EA6-8586-32EED35EC0E5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11191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lang="de-DE" b="0" err="1"/>
              <a:t>ComHome</a:t>
            </a:r>
            <a:r>
              <a:rPr lang="de-DE" b="0" baseline="0"/>
              <a:t> </a:t>
            </a:r>
            <a:r>
              <a:rPr lang="de-DE" b="0" baseline="0" err="1"/>
              <a:t>basic</a:t>
            </a:r>
            <a:r>
              <a:rPr lang="de-DE" b="0" baseline="0"/>
              <a:t> 16.000 – 300.000</a:t>
            </a:r>
            <a:endParaRPr lang="de-DE" b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B20EB5-88DF-4EA6-8586-32EED35EC0E5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545887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B20EB5-88DF-4EA6-8586-32EED35EC0E5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30052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b="1" i="0" u="none" strike="noStrike" kern="1200" baseline="0" err="1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FRITZ!Box</a:t>
            </a:r>
            <a:r>
              <a:rPr lang="de-DE" sz="1200" b="1" i="0" u="none" strike="noStrike" kern="1200" baseline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 7590 - Technische Daten</a:t>
            </a:r>
          </a:p>
          <a:p>
            <a:endParaRPr lang="de-DE" sz="1200" b="1" i="0" u="none" strike="noStrike" kern="1200" baseline="0">
              <a:solidFill>
                <a:schemeClr val="tx1"/>
              </a:solidFill>
              <a:effectLst/>
              <a:latin typeface="EnBW DIN Pro" panose="020B0504020101020102" pitchFamily="34" charset="0"/>
              <a:ea typeface="+mn-ea"/>
              <a:cs typeface="EnBW DIN Pro" panose="020B0504020101020102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b="0" i="0" u="none" strike="noStrike" kern="1200" baseline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Alle DSL-Anschlüsse mit bis zu 300 MBit/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b="0" i="0" u="none" strike="noStrike" kern="1200" baseline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IP-basiertes, analoges oder ISDN-Festnetz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b="0" i="0" u="none" strike="noStrike" kern="1200" baseline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4 x Gigabit-Ethern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b="0" i="0" u="none" strike="noStrike" kern="1200" baseline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1 x Gigabit-WAN für den Anschluss an Kabel-/DSL-/Glasfasermodem oder Netzwer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b="0" i="0" u="none" strike="noStrike" kern="1200" baseline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4 x 4 WLAN AC + N mit Multi-User MIM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b="0" i="0" u="none" strike="noStrike" kern="1200" baseline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WLAN AC mit bis zu 1.733 MBit/s (5 GHz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b="0" i="0" u="none" strike="noStrike" kern="1200" baseline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WLAN N mit bis zu 800 MBit/s (2,4 GHz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b="0" i="0" u="none" strike="noStrike" kern="1200" baseline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2 x USB 3.0 für Speicher und Druck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b="0" i="0" u="none" strike="noStrike" kern="1200" baseline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DECT-Basisstation für bis zu 6 Handgerät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b="0" i="0" u="none" strike="noStrike" kern="1200" baseline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ISDN-S₀-Bus für ISDN-Telefone oder ISDN-Telefonanla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b="0" i="0" u="none" strike="noStrike" kern="1200" baseline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2 x a/b-Port für analoge Telefone, Anrufbeantworter und Fax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B20EB5-88DF-4EA6-8586-32EED35EC0E5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35958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lang="de-DE" b="0">
                <a:latin typeface="+mn-lt"/>
              </a:rPr>
              <a:t>Link zur Video-Verknüpfung: S:\Netzwerkfreigaben\FS-Beteiligungen\NetCom\info\produkte\NetCom_portfolio\allg\präsentation\Videos waipu.tv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B20EB5-88DF-4EA6-8586-32EED35EC0E5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09212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FB20EB5-88DF-4EA6-8586-32EED35EC0E5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78621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0" kern="1200" baseline="0" dirty="0">
                <a:solidFill>
                  <a:schemeClr val="tx1"/>
                </a:solidFill>
                <a:effectLst/>
                <a:latin typeface="EnBW DIN Pro" panose="020B0504020101020102" pitchFamily="34" charset="0"/>
                <a:ea typeface="+mn-ea"/>
                <a:cs typeface="EnBW DIN Pro" panose="020B0504020101020102" pitchFamily="34" charset="0"/>
              </a:rPr>
              <a:t>Vorstellung Vertriebspartner, Kontaktdaten im Chat einblenden</a:t>
            </a:r>
          </a:p>
          <a:p>
            <a:endParaRPr lang="de-DE" b="0" dirty="0"/>
          </a:p>
          <a:p>
            <a:r>
              <a:rPr lang="de-DE" b="0" dirty="0"/>
              <a:t>Zu Folie 11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226532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56F9CE72-000E-76F2-AA2A-4EAA6D04EDF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362946" y="1251518"/>
            <a:ext cx="9829055" cy="5606482"/>
          </a:xfrm>
          <a:custGeom>
            <a:avLst/>
            <a:gdLst>
              <a:gd name="connsiteX0" fmla="*/ 6234914 w 9829055"/>
              <a:gd name="connsiteY0" fmla="*/ 0 h 5606482"/>
              <a:gd name="connsiteX1" fmla="*/ 7313533 w 9829055"/>
              <a:gd name="connsiteY1" fmla="*/ 446982 h 5606482"/>
              <a:gd name="connsiteX2" fmla="*/ 8972024 w 9829055"/>
              <a:gd name="connsiteY2" fmla="*/ 2105473 h 5606482"/>
              <a:gd name="connsiteX3" fmla="*/ 9829054 w 9829055"/>
              <a:gd name="connsiteY3" fmla="*/ 2962503 h 5606482"/>
              <a:gd name="connsiteX4" fmla="*/ 9829054 w 9829055"/>
              <a:gd name="connsiteY4" fmla="*/ 3192777 h 5606482"/>
              <a:gd name="connsiteX5" fmla="*/ 9829055 w 9829055"/>
              <a:gd name="connsiteY5" fmla="*/ 3192778 h 5606482"/>
              <a:gd name="connsiteX6" fmla="*/ 9829055 w 9829055"/>
              <a:gd name="connsiteY6" fmla="*/ 5606482 h 5606482"/>
              <a:gd name="connsiteX7" fmla="*/ 9061647 w 9829055"/>
              <a:gd name="connsiteY7" fmla="*/ 5606482 h 5606482"/>
              <a:gd name="connsiteX8" fmla="*/ 8648248 w 9829055"/>
              <a:gd name="connsiteY8" fmla="*/ 5606482 h 5606482"/>
              <a:gd name="connsiteX9" fmla="*/ 4170361 w 9829055"/>
              <a:gd name="connsiteY9" fmla="*/ 5606482 h 5606482"/>
              <a:gd name="connsiteX10" fmla="*/ 3805063 w 9829055"/>
              <a:gd name="connsiteY10" fmla="*/ 5606482 h 5606482"/>
              <a:gd name="connsiteX11" fmla="*/ 575850 w 9829055"/>
              <a:gd name="connsiteY11" fmla="*/ 5606482 h 5606482"/>
              <a:gd name="connsiteX12" fmla="*/ 575851 w 9829055"/>
              <a:gd name="connsiteY12" fmla="*/ 5606481 h 5606482"/>
              <a:gd name="connsiteX13" fmla="*/ 0 w 9829055"/>
              <a:gd name="connsiteY13" fmla="*/ 5606481 h 5606482"/>
              <a:gd name="connsiteX14" fmla="*/ 404665 w 9829055"/>
              <a:gd name="connsiteY14" fmla="*/ 5201817 h 5606482"/>
              <a:gd name="connsiteX15" fmla="*/ 401460 w 9829055"/>
              <a:gd name="connsiteY15" fmla="*/ 5201817 h 5606482"/>
              <a:gd name="connsiteX16" fmla="*/ 5156628 w 9829055"/>
              <a:gd name="connsiteY16" fmla="*/ 446648 h 5606482"/>
              <a:gd name="connsiteX17" fmla="*/ 6234914 w 9829055"/>
              <a:gd name="connsiteY17" fmla="*/ 0 h 56064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9829055" h="5606482">
                <a:moveTo>
                  <a:pt x="6234914" y="0"/>
                </a:moveTo>
                <a:cubicBezTo>
                  <a:pt x="6642230" y="0"/>
                  <a:pt x="7025546" y="158661"/>
                  <a:pt x="7313533" y="446982"/>
                </a:cubicBezTo>
                <a:lnTo>
                  <a:pt x="8972024" y="2105473"/>
                </a:lnTo>
                <a:lnTo>
                  <a:pt x="9829054" y="2962503"/>
                </a:lnTo>
                <a:lnTo>
                  <a:pt x="9829054" y="3192777"/>
                </a:lnTo>
                <a:lnTo>
                  <a:pt x="9829055" y="3192778"/>
                </a:lnTo>
                <a:lnTo>
                  <a:pt x="9829055" y="5606482"/>
                </a:lnTo>
                <a:lnTo>
                  <a:pt x="9061647" y="5606482"/>
                </a:lnTo>
                <a:lnTo>
                  <a:pt x="8648248" y="5606482"/>
                </a:lnTo>
                <a:lnTo>
                  <a:pt x="4170361" y="5606482"/>
                </a:lnTo>
                <a:lnTo>
                  <a:pt x="3805063" y="5606482"/>
                </a:lnTo>
                <a:lnTo>
                  <a:pt x="575850" y="5606482"/>
                </a:lnTo>
                <a:lnTo>
                  <a:pt x="575851" y="5606481"/>
                </a:lnTo>
                <a:lnTo>
                  <a:pt x="0" y="5606481"/>
                </a:lnTo>
                <a:lnTo>
                  <a:pt x="404665" y="5201817"/>
                </a:lnTo>
                <a:lnTo>
                  <a:pt x="401460" y="5201817"/>
                </a:lnTo>
                <a:lnTo>
                  <a:pt x="5156628" y="446648"/>
                </a:lnTo>
                <a:cubicBezTo>
                  <a:pt x="5444614" y="158661"/>
                  <a:pt x="5827599" y="0"/>
                  <a:pt x="6234914" y="0"/>
                </a:cubicBezTo>
                <a:close/>
              </a:path>
            </a:pathLst>
          </a:cu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bIns="684000" anchor="ctr" anchorCtr="0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1088772"/>
            <a:ext cx="5975350" cy="1656334"/>
          </a:xfrm>
        </p:spPr>
        <p:txBody>
          <a:bodyPr tIns="0" anchor="t" anchorCtr="0"/>
          <a:lstStyle>
            <a:lvl1pPr algn="l">
              <a:lnSpc>
                <a:spcPct val="9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989" y="2816964"/>
            <a:ext cx="5400674" cy="28800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Referent | Datum, Ort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7EA83E9-B2E8-37E9-9452-72A9D22BD2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48303" y="368300"/>
            <a:ext cx="2535709" cy="468000"/>
          </a:xfrm>
          <a:prstGeom prst="rect">
            <a:avLst/>
          </a:prstGeom>
        </p:spPr>
      </p:pic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9BAB260E-5D20-B5CA-B078-792CF29803A8}"/>
              </a:ext>
            </a:extLst>
          </p:cNvPr>
          <p:cNvSpPr/>
          <p:nvPr userDrawn="1"/>
        </p:nvSpPr>
        <p:spPr>
          <a:xfrm rot="16200000">
            <a:off x="-738228" y="4435312"/>
            <a:ext cx="3160916" cy="1684460"/>
          </a:xfrm>
          <a:custGeom>
            <a:avLst/>
            <a:gdLst>
              <a:gd name="connsiteX0" fmla="*/ 3160916 w 3160916"/>
              <a:gd name="connsiteY0" fmla="*/ 0 h 1684460"/>
              <a:gd name="connsiteX1" fmla="*/ 1552469 w 3160916"/>
              <a:gd name="connsiteY1" fmla="*/ 1608447 h 1684460"/>
              <a:gd name="connsiteX2" fmla="*/ 1368743 w 3160916"/>
              <a:gd name="connsiteY2" fmla="*/ 1684460 h 1684460"/>
              <a:gd name="connsiteX3" fmla="*/ 1368401 w 3160916"/>
              <a:gd name="connsiteY3" fmla="*/ 1684119 h 1684460"/>
              <a:gd name="connsiteX4" fmla="*/ 1184677 w 3160916"/>
              <a:gd name="connsiteY4" fmla="*/ 1608106 h 1684460"/>
              <a:gd name="connsiteX5" fmla="*/ 0 w 3160916"/>
              <a:gd name="connsiteY5" fmla="*/ 423428 h 1684460"/>
              <a:gd name="connsiteX6" fmla="*/ 0 w 3160916"/>
              <a:gd name="connsiteY6" fmla="*/ 0 h 1684460"/>
              <a:gd name="connsiteX7" fmla="*/ 188760 w 3160916"/>
              <a:gd name="connsiteY7" fmla="*/ 0 h 1684460"/>
              <a:gd name="connsiteX8" fmla="*/ 1368402 w 3160916"/>
              <a:gd name="connsiteY8" fmla="*/ 1179642 h 1684460"/>
              <a:gd name="connsiteX9" fmla="*/ 2548045 w 3160916"/>
              <a:gd name="connsiteY9" fmla="*/ 0 h 1684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60916" h="1684460">
                <a:moveTo>
                  <a:pt x="3160916" y="0"/>
                </a:moveTo>
                <a:lnTo>
                  <a:pt x="1552469" y="1608447"/>
                </a:lnTo>
                <a:cubicBezTo>
                  <a:pt x="1501679" y="1659235"/>
                  <a:pt x="1435212" y="1684460"/>
                  <a:pt x="1368743" y="1684460"/>
                </a:cubicBezTo>
                <a:lnTo>
                  <a:pt x="1368401" y="1684119"/>
                </a:lnTo>
                <a:cubicBezTo>
                  <a:pt x="1301933" y="1684119"/>
                  <a:pt x="1235465" y="1658895"/>
                  <a:pt x="1184677" y="1608106"/>
                </a:cubicBezTo>
                <a:lnTo>
                  <a:pt x="0" y="423428"/>
                </a:lnTo>
                <a:lnTo>
                  <a:pt x="0" y="0"/>
                </a:lnTo>
                <a:lnTo>
                  <a:pt x="188760" y="0"/>
                </a:lnTo>
                <a:lnTo>
                  <a:pt x="1368402" y="1179642"/>
                </a:lnTo>
                <a:lnTo>
                  <a:pt x="2548045" y="0"/>
                </a:ln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83348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und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64CCBE89-0F8A-4602-93B8-B2ECC82F0C6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383338" y="1881188"/>
            <a:ext cx="5400675" cy="439261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0EE9452-62DD-4662-8A73-CC8B0A47F2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96864"/>
            <a:ext cx="8784356" cy="504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B839A86-264D-430B-B88F-6278CA4832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7989" y="1844675"/>
            <a:ext cx="5399980" cy="4429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060F2FB-0839-494C-B1B1-8A7A479F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Oktober 202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46D8022-A349-48B0-A00B-464F8483F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09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und Bild rechts Zuschni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5C906616-F44C-2953-8FCF-7D32AD1B060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722959" y="2614736"/>
            <a:ext cx="8469042" cy="4243264"/>
          </a:xfrm>
          <a:custGeom>
            <a:avLst/>
            <a:gdLst>
              <a:gd name="connsiteX0" fmla="*/ 4874901 w 8469042"/>
              <a:gd name="connsiteY0" fmla="*/ 0 h 4243264"/>
              <a:gd name="connsiteX1" fmla="*/ 5953520 w 8469042"/>
              <a:gd name="connsiteY1" fmla="*/ 446982 h 4243264"/>
              <a:gd name="connsiteX2" fmla="*/ 7612011 w 8469042"/>
              <a:gd name="connsiteY2" fmla="*/ 2105473 h 4243264"/>
              <a:gd name="connsiteX3" fmla="*/ 8469041 w 8469042"/>
              <a:gd name="connsiteY3" fmla="*/ 2962503 h 4243264"/>
              <a:gd name="connsiteX4" fmla="*/ 8469041 w 8469042"/>
              <a:gd name="connsiteY4" fmla="*/ 3192777 h 4243264"/>
              <a:gd name="connsiteX5" fmla="*/ 8469042 w 8469042"/>
              <a:gd name="connsiteY5" fmla="*/ 3192778 h 4243264"/>
              <a:gd name="connsiteX6" fmla="*/ 8469042 w 8469042"/>
              <a:gd name="connsiteY6" fmla="*/ 4243264 h 4243264"/>
              <a:gd name="connsiteX7" fmla="*/ 0 w 8469042"/>
              <a:gd name="connsiteY7" fmla="*/ 4243264 h 4243264"/>
              <a:gd name="connsiteX8" fmla="*/ 3796615 w 8469042"/>
              <a:gd name="connsiteY8" fmla="*/ 446648 h 4243264"/>
              <a:gd name="connsiteX9" fmla="*/ 4874901 w 8469042"/>
              <a:gd name="connsiteY9" fmla="*/ 0 h 4243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469042" h="4243264">
                <a:moveTo>
                  <a:pt x="4874901" y="0"/>
                </a:moveTo>
                <a:cubicBezTo>
                  <a:pt x="5282217" y="0"/>
                  <a:pt x="5665533" y="158661"/>
                  <a:pt x="5953520" y="446982"/>
                </a:cubicBezTo>
                <a:lnTo>
                  <a:pt x="7612011" y="2105473"/>
                </a:lnTo>
                <a:lnTo>
                  <a:pt x="8469041" y="2962503"/>
                </a:lnTo>
                <a:lnTo>
                  <a:pt x="8469041" y="3192777"/>
                </a:lnTo>
                <a:lnTo>
                  <a:pt x="8469042" y="3192778"/>
                </a:lnTo>
                <a:lnTo>
                  <a:pt x="8469042" y="4243264"/>
                </a:lnTo>
                <a:lnTo>
                  <a:pt x="0" y="4243264"/>
                </a:lnTo>
                <a:lnTo>
                  <a:pt x="3796615" y="446648"/>
                </a:lnTo>
                <a:cubicBezTo>
                  <a:pt x="4084601" y="158661"/>
                  <a:pt x="4467587" y="0"/>
                  <a:pt x="4874901" y="0"/>
                </a:cubicBezTo>
                <a:close/>
              </a:path>
            </a:pathLst>
          </a:cu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bIns="684000" anchor="ctr" anchorCtr="0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0EE9452-62DD-4662-8A73-CC8B0A47F2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96864"/>
            <a:ext cx="8784356" cy="504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B839A86-264D-430B-B88F-6278CA4832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7989" y="1844675"/>
            <a:ext cx="5399980" cy="4429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060F2FB-0839-494C-B1B1-8A7A479F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Oktober 202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346D8022-A349-48B0-A00B-464F8483F8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8797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er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Oktober 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5444CA1A-BB0E-4101-88A7-BF2A2A16FFB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07989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BBC456EB-11B0-4F2E-964E-BB31D1253B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359696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6" name="Bildplatzhalter 11">
            <a:extLst>
              <a:ext uri="{FF2B5EF4-FFF2-40B4-BE49-F238E27FC236}">
                <a16:creationId xmlns:a16="http://schemas.microsoft.com/office/drawing/2014/main" id="{61166AEC-D55F-4A66-9BD7-4A5E1188AA6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311403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7" name="Bildplatzhalter 11">
            <a:extLst>
              <a:ext uri="{FF2B5EF4-FFF2-40B4-BE49-F238E27FC236}">
                <a16:creationId xmlns:a16="http://schemas.microsoft.com/office/drawing/2014/main" id="{0BF7F625-91A6-48EE-83B1-06E56D5C728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228348" y="1881188"/>
            <a:ext cx="2555664" cy="1727832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6062C617-361B-47CC-AB35-F3DCF8C107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1" name="Textplatzhalter 19">
            <a:extLst>
              <a:ext uri="{FF2B5EF4-FFF2-40B4-BE49-F238E27FC236}">
                <a16:creationId xmlns:a16="http://schemas.microsoft.com/office/drawing/2014/main" id="{047333BB-E722-46F2-833D-96CB1B13F74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34810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2" name="Textplatzhalter 19">
            <a:extLst>
              <a:ext uri="{FF2B5EF4-FFF2-40B4-BE49-F238E27FC236}">
                <a16:creationId xmlns:a16="http://schemas.microsoft.com/office/drawing/2014/main" id="{FFDA62BA-92A9-4C94-A93F-6C0E3035BA1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8822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E40C4AD6-5A0C-42EC-91D8-14F0F244EE4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9228348" y="3969060"/>
            <a:ext cx="2556001" cy="230474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284676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96863"/>
            <a:ext cx="8784356" cy="504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Oktober 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5444CA1A-BB0E-4101-88A7-BF2A2A16FFB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07988" y="1881188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BBC456EB-11B0-4F2E-964E-BB31D1253B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83338" y="1881188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116B46EE-E36F-445B-AA1E-0070C1F30F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8" y="5229200"/>
            <a:ext cx="5400675" cy="1044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6" name="Textplatzhalter 19">
            <a:extLst>
              <a:ext uri="{FF2B5EF4-FFF2-40B4-BE49-F238E27FC236}">
                <a16:creationId xmlns:a16="http://schemas.microsoft.com/office/drawing/2014/main" id="{723BBC4C-C0D4-48BB-8424-0EDA67550BC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3338" y="5229200"/>
            <a:ext cx="5400675" cy="1044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828510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Bilder versetz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96863"/>
            <a:ext cx="8784356" cy="504000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Oktober 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4" name="Bildplatzhalter 11">
            <a:extLst>
              <a:ext uri="{FF2B5EF4-FFF2-40B4-BE49-F238E27FC236}">
                <a16:creationId xmlns:a16="http://schemas.microsoft.com/office/drawing/2014/main" id="{5444CA1A-BB0E-4101-88A7-BF2A2A16FFB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07988" y="1881188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5" name="Bildplatzhalter 11">
            <a:extLst>
              <a:ext uri="{FF2B5EF4-FFF2-40B4-BE49-F238E27FC236}">
                <a16:creationId xmlns:a16="http://schemas.microsoft.com/office/drawing/2014/main" id="{BBC456EB-11B0-4F2E-964E-BB31D1253B9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83338" y="3141812"/>
            <a:ext cx="5400674" cy="3131988"/>
          </a:xfr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bIns="684000" anchor="ctr" anchorCtr="0"/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116B46EE-E36F-445B-AA1E-0070C1F30F8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8" y="5229200"/>
            <a:ext cx="5400675" cy="10446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26" name="Textplatzhalter 19">
            <a:extLst>
              <a:ext uri="{FF2B5EF4-FFF2-40B4-BE49-F238E27FC236}">
                <a16:creationId xmlns:a16="http://schemas.microsoft.com/office/drawing/2014/main" id="{723BBC4C-C0D4-48BB-8424-0EDA67550BC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83338" y="1844675"/>
            <a:ext cx="5400675" cy="10811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2925333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tIns="0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Oktober 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5366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9F5BC50-F9E1-4E10-ACFC-C796DE11D2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Okto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03D9D73-D242-4783-BF88-25B8A0E924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65545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7296765-F480-4E07-BE38-2609333F34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43872" y="1844675"/>
            <a:ext cx="6840139" cy="4429125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+mj-lt"/>
              </a:defRPr>
            </a:lvl2pPr>
            <a:lvl3pPr marL="0" indent="0">
              <a:buNone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70000">
              <a:defRPr lang="de-DE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1" name="Foliennummernplatzhalter 3">
            <a:extLst>
              <a:ext uri="{FF2B5EF4-FFF2-40B4-BE49-F238E27FC236}">
                <a16:creationId xmlns:a16="http://schemas.microsoft.com/office/drawing/2014/main" id="{3D7E90DA-D98B-44D3-93E6-AEA4E803E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F0F76F0F-055D-4EAD-8960-570FE61FCB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8" y="6543420"/>
            <a:ext cx="10044112" cy="143869"/>
          </a:xfrm>
        </p:spPr>
        <p:txBody>
          <a:bodyPr/>
          <a:lstStyle/>
          <a:p>
            <a:r>
              <a:rPr lang="de-DE"/>
              <a:t>Bereit fürs Glasfaserland? | Oktober 2023</a:t>
            </a:r>
          </a:p>
        </p:txBody>
      </p:sp>
      <p:sp>
        <p:nvSpPr>
          <p:cNvPr id="2" name="Freihandform: Form 1">
            <a:extLst>
              <a:ext uri="{FF2B5EF4-FFF2-40B4-BE49-F238E27FC236}">
                <a16:creationId xmlns:a16="http://schemas.microsoft.com/office/drawing/2014/main" id="{DA3FCF58-F8B7-0633-2038-5AE1A48A4AFE}"/>
              </a:ext>
            </a:extLst>
          </p:cNvPr>
          <p:cNvSpPr/>
          <p:nvPr userDrawn="1"/>
        </p:nvSpPr>
        <p:spPr>
          <a:xfrm flipV="1">
            <a:off x="4004735" y="5241239"/>
            <a:ext cx="3444177" cy="1616761"/>
          </a:xfrm>
          <a:custGeom>
            <a:avLst/>
            <a:gdLst>
              <a:gd name="connsiteX0" fmla="*/ 0 w 3444177"/>
              <a:gd name="connsiteY0" fmla="*/ 0 h 1616761"/>
              <a:gd name="connsiteX1" fmla="*/ 598641 w 3444177"/>
              <a:gd name="connsiteY1" fmla="*/ 0 h 1616761"/>
              <a:gd name="connsiteX2" fmla="*/ 1721754 w 3444177"/>
              <a:gd name="connsiteY2" fmla="*/ 1123114 h 1616761"/>
              <a:gd name="connsiteX3" fmla="*/ 2844869 w 3444177"/>
              <a:gd name="connsiteY3" fmla="*/ 0 h 1616761"/>
              <a:gd name="connsiteX4" fmla="*/ 3444177 w 3444177"/>
              <a:gd name="connsiteY4" fmla="*/ 0 h 1616761"/>
              <a:gd name="connsiteX5" fmla="*/ 1901748 w 3444177"/>
              <a:gd name="connsiteY5" fmla="*/ 1542430 h 1616761"/>
              <a:gd name="connsiteX6" fmla="*/ 1722088 w 3444177"/>
              <a:gd name="connsiteY6" fmla="*/ 1616761 h 1616761"/>
              <a:gd name="connsiteX7" fmla="*/ 1721754 w 3444177"/>
              <a:gd name="connsiteY7" fmla="*/ 1616427 h 1616761"/>
              <a:gd name="connsiteX8" fmla="*/ 1542095 w 3444177"/>
              <a:gd name="connsiteY8" fmla="*/ 1542097 h 1616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44177" h="1616761">
                <a:moveTo>
                  <a:pt x="0" y="0"/>
                </a:moveTo>
                <a:lnTo>
                  <a:pt x="598641" y="0"/>
                </a:lnTo>
                <a:lnTo>
                  <a:pt x="1721754" y="1123114"/>
                </a:lnTo>
                <a:lnTo>
                  <a:pt x="2844869" y="0"/>
                </a:lnTo>
                <a:lnTo>
                  <a:pt x="3444177" y="0"/>
                </a:lnTo>
                <a:lnTo>
                  <a:pt x="1901748" y="1542430"/>
                </a:lnTo>
                <a:cubicBezTo>
                  <a:pt x="1852082" y="1592094"/>
                  <a:pt x="1787086" y="1616761"/>
                  <a:pt x="1722088" y="1616761"/>
                </a:cubicBezTo>
                <a:lnTo>
                  <a:pt x="1721754" y="1616427"/>
                </a:lnTo>
                <a:cubicBezTo>
                  <a:pt x="1656757" y="1616427"/>
                  <a:pt x="1591759" y="1591762"/>
                  <a:pt x="1542095" y="1542097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6A892B12-274A-F782-3830-80F6B9F1CC46}"/>
              </a:ext>
            </a:extLst>
          </p:cNvPr>
          <p:cNvSpPr/>
          <p:nvPr userDrawn="1"/>
        </p:nvSpPr>
        <p:spPr>
          <a:xfrm flipV="1">
            <a:off x="0" y="0"/>
            <a:ext cx="4331804" cy="6319154"/>
          </a:xfrm>
          <a:custGeom>
            <a:avLst/>
            <a:gdLst>
              <a:gd name="connsiteX0" fmla="*/ 8848 w 4331804"/>
              <a:gd name="connsiteY0" fmla="*/ 6319154 h 6319154"/>
              <a:gd name="connsiteX1" fmla="*/ 3604025 w 4331804"/>
              <a:gd name="connsiteY1" fmla="*/ 6319154 h 6319154"/>
              <a:gd name="connsiteX2" fmla="*/ 3884822 w 4331804"/>
              <a:gd name="connsiteY2" fmla="*/ 6038357 h 6319154"/>
              <a:gd name="connsiteX3" fmla="*/ 4331804 w 4331804"/>
              <a:gd name="connsiteY3" fmla="*/ 4959736 h 6319154"/>
              <a:gd name="connsiteX4" fmla="*/ 3885156 w 4331804"/>
              <a:gd name="connsiteY4" fmla="*/ 3881449 h 6319154"/>
              <a:gd name="connsiteX5" fmla="*/ 860398 w 4331804"/>
              <a:gd name="connsiteY5" fmla="*/ 856691 h 6319154"/>
              <a:gd name="connsiteX6" fmla="*/ 856691 w 4331804"/>
              <a:gd name="connsiteY6" fmla="*/ 856691 h 6319154"/>
              <a:gd name="connsiteX7" fmla="*/ 0 w 4331804"/>
              <a:gd name="connsiteY7" fmla="*/ 0 h 6319154"/>
              <a:gd name="connsiteX8" fmla="*/ 0 w 4331804"/>
              <a:gd name="connsiteY8" fmla="*/ 3590805 h 6319154"/>
              <a:gd name="connsiteX9" fmla="*/ 1368598 w 4331804"/>
              <a:gd name="connsiteY9" fmla="*/ 4959403 h 631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31804" h="6319154">
                <a:moveTo>
                  <a:pt x="8848" y="6319154"/>
                </a:moveTo>
                <a:lnTo>
                  <a:pt x="3604025" y="6319154"/>
                </a:lnTo>
                <a:lnTo>
                  <a:pt x="3884822" y="6038357"/>
                </a:lnTo>
                <a:cubicBezTo>
                  <a:pt x="4173144" y="5750368"/>
                  <a:pt x="4331804" y="5367052"/>
                  <a:pt x="4331804" y="4959736"/>
                </a:cubicBezTo>
                <a:cubicBezTo>
                  <a:pt x="4331804" y="4552421"/>
                  <a:pt x="4173144" y="4169437"/>
                  <a:pt x="3885156" y="3881449"/>
                </a:cubicBezTo>
                <a:lnTo>
                  <a:pt x="860398" y="856691"/>
                </a:lnTo>
                <a:lnTo>
                  <a:pt x="856691" y="856691"/>
                </a:lnTo>
                <a:lnTo>
                  <a:pt x="0" y="0"/>
                </a:lnTo>
                <a:lnTo>
                  <a:pt x="0" y="3590805"/>
                </a:lnTo>
                <a:lnTo>
                  <a:pt x="1368598" y="495940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de-DE">
              <a:solidFill>
                <a:schemeClr val="l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0772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7">
            <a:extLst>
              <a:ext uri="{FF2B5EF4-FFF2-40B4-BE49-F238E27FC236}">
                <a16:creationId xmlns:a16="http://schemas.microsoft.com/office/drawing/2014/main" id="{BA051152-F29D-F781-2D8F-B1B9E6393CD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331804" cy="6319154"/>
          </a:xfrm>
          <a:custGeom>
            <a:avLst/>
            <a:gdLst>
              <a:gd name="connsiteX0" fmla="*/ 0 w 4331804"/>
              <a:gd name="connsiteY0" fmla="*/ 0 h 6319154"/>
              <a:gd name="connsiteX1" fmla="*/ 8848 w 4331804"/>
              <a:gd name="connsiteY1" fmla="*/ 0 h 6319154"/>
              <a:gd name="connsiteX2" fmla="*/ 1487488 w 4331804"/>
              <a:gd name="connsiteY2" fmla="*/ 0 h 6319154"/>
              <a:gd name="connsiteX3" fmla="*/ 3604025 w 4331804"/>
              <a:gd name="connsiteY3" fmla="*/ 0 h 6319154"/>
              <a:gd name="connsiteX4" fmla="*/ 3884822 w 4331804"/>
              <a:gd name="connsiteY4" fmla="*/ 280797 h 6319154"/>
              <a:gd name="connsiteX5" fmla="*/ 4331804 w 4331804"/>
              <a:gd name="connsiteY5" fmla="*/ 1359418 h 6319154"/>
              <a:gd name="connsiteX6" fmla="*/ 3885156 w 4331804"/>
              <a:gd name="connsiteY6" fmla="*/ 2437705 h 6319154"/>
              <a:gd name="connsiteX7" fmla="*/ 860398 w 4331804"/>
              <a:gd name="connsiteY7" fmla="*/ 5462463 h 6319154"/>
              <a:gd name="connsiteX8" fmla="*/ 856691 w 4331804"/>
              <a:gd name="connsiteY8" fmla="*/ 5462463 h 6319154"/>
              <a:gd name="connsiteX9" fmla="*/ 0 w 4331804"/>
              <a:gd name="connsiteY9" fmla="*/ 6319154 h 6319154"/>
              <a:gd name="connsiteX10" fmla="*/ 0 w 4331804"/>
              <a:gd name="connsiteY10" fmla="*/ 3392996 h 6319154"/>
              <a:gd name="connsiteX11" fmla="*/ 0 w 4331804"/>
              <a:gd name="connsiteY11" fmla="*/ 2728349 h 631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331804" h="6319154">
                <a:moveTo>
                  <a:pt x="0" y="0"/>
                </a:moveTo>
                <a:lnTo>
                  <a:pt x="8848" y="0"/>
                </a:lnTo>
                <a:lnTo>
                  <a:pt x="1487488" y="0"/>
                </a:lnTo>
                <a:lnTo>
                  <a:pt x="3604025" y="0"/>
                </a:lnTo>
                <a:lnTo>
                  <a:pt x="3884822" y="280797"/>
                </a:lnTo>
                <a:cubicBezTo>
                  <a:pt x="4173144" y="568786"/>
                  <a:pt x="4331804" y="952102"/>
                  <a:pt x="4331804" y="1359418"/>
                </a:cubicBezTo>
                <a:cubicBezTo>
                  <a:pt x="4331804" y="1766733"/>
                  <a:pt x="4173144" y="2149717"/>
                  <a:pt x="3885156" y="2437705"/>
                </a:cubicBezTo>
                <a:lnTo>
                  <a:pt x="860398" y="5462463"/>
                </a:lnTo>
                <a:lnTo>
                  <a:pt x="856691" y="5462463"/>
                </a:lnTo>
                <a:lnTo>
                  <a:pt x="0" y="6319154"/>
                </a:lnTo>
                <a:lnTo>
                  <a:pt x="0" y="3392996"/>
                </a:lnTo>
                <a:lnTo>
                  <a:pt x="0" y="2728349"/>
                </a:lnTo>
                <a:close/>
              </a:path>
            </a:pathLst>
          </a:cu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bIns="684000" anchor="ctr" anchorCtr="0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11" name="Foliennummernplatzhalter 3">
            <a:extLst>
              <a:ext uri="{FF2B5EF4-FFF2-40B4-BE49-F238E27FC236}">
                <a16:creationId xmlns:a16="http://schemas.microsoft.com/office/drawing/2014/main" id="{3D7E90DA-D98B-44D3-93E6-AEA4E803E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F0F76F0F-055D-4EAD-8960-570FE61FCB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8" y="6543420"/>
            <a:ext cx="10044112" cy="143869"/>
          </a:xfrm>
        </p:spPr>
        <p:txBody>
          <a:bodyPr/>
          <a:lstStyle/>
          <a:p>
            <a:r>
              <a:rPr lang="de-DE"/>
              <a:t>Bereit fürs Glasfaserland? | Oktober 2023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7296765-F480-4E07-BE38-2609333F34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43872" y="1844675"/>
            <a:ext cx="6840139" cy="4429125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+mj-lt"/>
              </a:defRPr>
            </a:lvl2pPr>
            <a:lvl3pPr marL="0" indent="0">
              <a:buNone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70000">
              <a:defRPr lang="de-DE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5CD7AE66-4674-EC2E-781B-7FEC6A3FC7A6}"/>
              </a:ext>
            </a:extLst>
          </p:cNvPr>
          <p:cNvSpPr/>
          <p:nvPr userDrawn="1"/>
        </p:nvSpPr>
        <p:spPr>
          <a:xfrm flipV="1">
            <a:off x="8304451" y="5241239"/>
            <a:ext cx="3444177" cy="1616761"/>
          </a:xfrm>
          <a:custGeom>
            <a:avLst/>
            <a:gdLst>
              <a:gd name="connsiteX0" fmla="*/ 0 w 3444177"/>
              <a:gd name="connsiteY0" fmla="*/ 0 h 1616761"/>
              <a:gd name="connsiteX1" fmla="*/ 598641 w 3444177"/>
              <a:gd name="connsiteY1" fmla="*/ 0 h 1616761"/>
              <a:gd name="connsiteX2" fmla="*/ 1721754 w 3444177"/>
              <a:gd name="connsiteY2" fmla="*/ 1123114 h 1616761"/>
              <a:gd name="connsiteX3" fmla="*/ 2844869 w 3444177"/>
              <a:gd name="connsiteY3" fmla="*/ 0 h 1616761"/>
              <a:gd name="connsiteX4" fmla="*/ 3444177 w 3444177"/>
              <a:gd name="connsiteY4" fmla="*/ 0 h 1616761"/>
              <a:gd name="connsiteX5" fmla="*/ 1901748 w 3444177"/>
              <a:gd name="connsiteY5" fmla="*/ 1542430 h 1616761"/>
              <a:gd name="connsiteX6" fmla="*/ 1722088 w 3444177"/>
              <a:gd name="connsiteY6" fmla="*/ 1616761 h 1616761"/>
              <a:gd name="connsiteX7" fmla="*/ 1721754 w 3444177"/>
              <a:gd name="connsiteY7" fmla="*/ 1616427 h 1616761"/>
              <a:gd name="connsiteX8" fmla="*/ 1542095 w 3444177"/>
              <a:gd name="connsiteY8" fmla="*/ 1542097 h 1616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44177" h="1616761">
                <a:moveTo>
                  <a:pt x="0" y="0"/>
                </a:moveTo>
                <a:lnTo>
                  <a:pt x="598641" y="0"/>
                </a:lnTo>
                <a:lnTo>
                  <a:pt x="1721754" y="1123114"/>
                </a:lnTo>
                <a:lnTo>
                  <a:pt x="2844869" y="0"/>
                </a:lnTo>
                <a:lnTo>
                  <a:pt x="3444177" y="0"/>
                </a:lnTo>
                <a:lnTo>
                  <a:pt x="1901748" y="1542430"/>
                </a:lnTo>
                <a:cubicBezTo>
                  <a:pt x="1852082" y="1592094"/>
                  <a:pt x="1787086" y="1616761"/>
                  <a:pt x="1722088" y="1616761"/>
                </a:cubicBezTo>
                <a:lnTo>
                  <a:pt x="1721754" y="1616427"/>
                </a:lnTo>
                <a:cubicBezTo>
                  <a:pt x="1656757" y="1616427"/>
                  <a:pt x="1591759" y="1591762"/>
                  <a:pt x="1542095" y="1542097"/>
                </a:cubicBezTo>
                <a:close/>
              </a:path>
            </a:pathLst>
          </a:custGeom>
          <a:solidFill>
            <a:schemeClr val="accent4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8329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0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liennummernplatzhalter 3">
            <a:extLst>
              <a:ext uri="{FF2B5EF4-FFF2-40B4-BE49-F238E27FC236}">
                <a16:creationId xmlns:a16="http://schemas.microsoft.com/office/drawing/2014/main" id="{3D7E90DA-D98B-44D3-93E6-AEA4E803EB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F0F76F0F-055D-4EAD-8960-570FE61FCB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8" y="6543420"/>
            <a:ext cx="10044112" cy="143869"/>
          </a:xfrm>
        </p:spPr>
        <p:txBody>
          <a:bodyPr/>
          <a:lstStyle/>
          <a:p>
            <a:r>
              <a:rPr lang="de-DE"/>
              <a:t>Bereit fürs Glasfaserland? | Oktober 2023</a:t>
            </a:r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5CD7AE66-4674-EC2E-781B-7FEC6A3FC7A6}"/>
              </a:ext>
            </a:extLst>
          </p:cNvPr>
          <p:cNvSpPr/>
          <p:nvPr userDrawn="1"/>
        </p:nvSpPr>
        <p:spPr>
          <a:xfrm flipV="1">
            <a:off x="8304451" y="5241239"/>
            <a:ext cx="3444177" cy="1616761"/>
          </a:xfrm>
          <a:custGeom>
            <a:avLst/>
            <a:gdLst>
              <a:gd name="connsiteX0" fmla="*/ 0 w 3444177"/>
              <a:gd name="connsiteY0" fmla="*/ 0 h 1616761"/>
              <a:gd name="connsiteX1" fmla="*/ 598641 w 3444177"/>
              <a:gd name="connsiteY1" fmla="*/ 0 h 1616761"/>
              <a:gd name="connsiteX2" fmla="*/ 1721754 w 3444177"/>
              <a:gd name="connsiteY2" fmla="*/ 1123114 h 1616761"/>
              <a:gd name="connsiteX3" fmla="*/ 2844869 w 3444177"/>
              <a:gd name="connsiteY3" fmla="*/ 0 h 1616761"/>
              <a:gd name="connsiteX4" fmla="*/ 3444177 w 3444177"/>
              <a:gd name="connsiteY4" fmla="*/ 0 h 1616761"/>
              <a:gd name="connsiteX5" fmla="*/ 1901748 w 3444177"/>
              <a:gd name="connsiteY5" fmla="*/ 1542430 h 1616761"/>
              <a:gd name="connsiteX6" fmla="*/ 1722088 w 3444177"/>
              <a:gd name="connsiteY6" fmla="*/ 1616761 h 1616761"/>
              <a:gd name="connsiteX7" fmla="*/ 1721754 w 3444177"/>
              <a:gd name="connsiteY7" fmla="*/ 1616427 h 1616761"/>
              <a:gd name="connsiteX8" fmla="*/ 1542095 w 3444177"/>
              <a:gd name="connsiteY8" fmla="*/ 1542097 h 1616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44177" h="1616761">
                <a:moveTo>
                  <a:pt x="0" y="0"/>
                </a:moveTo>
                <a:lnTo>
                  <a:pt x="598641" y="0"/>
                </a:lnTo>
                <a:lnTo>
                  <a:pt x="1721754" y="1123114"/>
                </a:lnTo>
                <a:lnTo>
                  <a:pt x="2844869" y="0"/>
                </a:lnTo>
                <a:lnTo>
                  <a:pt x="3444177" y="0"/>
                </a:lnTo>
                <a:lnTo>
                  <a:pt x="1901748" y="1542430"/>
                </a:lnTo>
                <a:cubicBezTo>
                  <a:pt x="1852082" y="1592094"/>
                  <a:pt x="1787086" y="1616761"/>
                  <a:pt x="1722088" y="1616761"/>
                </a:cubicBezTo>
                <a:lnTo>
                  <a:pt x="1721754" y="1616427"/>
                </a:lnTo>
                <a:cubicBezTo>
                  <a:pt x="1656757" y="1616427"/>
                  <a:pt x="1591759" y="1591762"/>
                  <a:pt x="1542095" y="1542097"/>
                </a:cubicBezTo>
                <a:close/>
              </a:path>
            </a:pathLst>
          </a:custGeom>
          <a:solidFill>
            <a:schemeClr val="accent4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2" name="Freihandform: Form 1">
            <a:extLst>
              <a:ext uri="{FF2B5EF4-FFF2-40B4-BE49-F238E27FC236}">
                <a16:creationId xmlns:a16="http://schemas.microsoft.com/office/drawing/2014/main" id="{C5450E21-EDA7-B8A4-DE27-DBB333A98901}"/>
              </a:ext>
            </a:extLst>
          </p:cNvPr>
          <p:cNvSpPr/>
          <p:nvPr userDrawn="1"/>
        </p:nvSpPr>
        <p:spPr>
          <a:xfrm flipV="1">
            <a:off x="0" y="0"/>
            <a:ext cx="4331804" cy="6319154"/>
          </a:xfrm>
          <a:custGeom>
            <a:avLst/>
            <a:gdLst>
              <a:gd name="connsiteX0" fmla="*/ 8848 w 4331804"/>
              <a:gd name="connsiteY0" fmla="*/ 6319154 h 6319154"/>
              <a:gd name="connsiteX1" fmla="*/ 3604025 w 4331804"/>
              <a:gd name="connsiteY1" fmla="*/ 6319154 h 6319154"/>
              <a:gd name="connsiteX2" fmla="*/ 3884822 w 4331804"/>
              <a:gd name="connsiteY2" fmla="*/ 6038357 h 6319154"/>
              <a:gd name="connsiteX3" fmla="*/ 4331804 w 4331804"/>
              <a:gd name="connsiteY3" fmla="*/ 4959736 h 6319154"/>
              <a:gd name="connsiteX4" fmla="*/ 3885156 w 4331804"/>
              <a:gd name="connsiteY4" fmla="*/ 3881449 h 6319154"/>
              <a:gd name="connsiteX5" fmla="*/ 860398 w 4331804"/>
              <a:gd name="connsiteY5" fmla="*/ 856691 h 6319154"/>
              <a:gd name="connsiteX6" fmla="*/ 856691 w 4331804"/>
              <a:gd name="connsiteY6" fmla="*/ 856691 h 6319154"/>
              <a:gd name="connsiteX7" fmla="*/ 0 w 4331804"/>
              <a:gd name="connsiteY7" fmla="*/ 0 h 6319154"/>
              <a:gd name="connsiteX8" fmla="*/ 0 w 4331804"/>
              <a:gd name="connsiteY8" fmla="*/ 3590805 h 6319154"/>
              <a:gd name="connsiteX9" fmla="*/ 1368598 w 4331804"/>
              <a:gd name="connsiteY9" fmla="*/ 4959403 h 631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31804" h="6319154">
                <a:moveTo>
                  <a:pt x="8848" y="6319154"/>
                </a:moveTo>
                <a:lnTo>
                  <a:pt x="3604025" y="6319154"/>
                </a:lnTo>
                <a:lnTo>
                  <a:pt x="3884822" y="6038357"/>
                </a:lnTo>
                <a:cubicBezTo>
                  <a:pt x="4173144" y="5750368"/>
                  <a:pt x="4331804" y="5367052"/>
                  <a:pt x="4331804" y="4959736"/>
                </a:cubicBezTo>
                <a:cubicBezTo>
                  <a:pt x="4331804" y="4552421"/>
                  <a:pt x="4173144" y="4169437"/>
                  <a:pt x="3885156" y="3881449"/>
                </a:cubicBezTo>
                <a:lnTo>
                  <a:pt x="860398" y="856691"/>
                </a:lnTo>
                <a:lnTo>
                  <a:pt x="856691" y="856691"/>
                </a:lnTo>
                <a:lnTo>
                  <a:pt x="0" y="0"/>
                </a:lnTo>
                <a:lnTo>
                  <a:pt x="0" y="3590805"/>
                </a:lnTo>
                <a:lnTo>
                  <a:pt x="1368598" y="495940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7296765-F480-4E07-BE38-2609333F346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943872" y="1844675"/>
            <a:ext cx="6840139" cy="4429125"/>
          </a:xfrm>
        </p:spPr>
        <p:txBody>
          <a:bodyPr/>
          <a:lstStyle>
            <a:lvl1pPr>
              <a:defRPr sz="28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>
                <a:solidFill>
                  <a:schemeClr val="tx1"/>
                </a:solidFill>
                <a:latin typeface="+mj-lt"/>
              </a:defRPr>
            </a:lvl2pPr>
            <a:lvl3pPr marL="0" indent="0">
              <a:buNone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0000" indent="-270000">
              <a:defRPr lang="de-DE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>
              <a:defRPr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63AEA1D7-58F1-7DF3-8DD6-D1230A346F93}"/>
              </a:ext>
            </a:extLst>
          </p:cNvPr>
          <p:cNvSpPr/>
          <p:nvPr userDrawn="1"/>
        </p:nvSpPr>
        <p:spPr>
          <a:xfrm>
            <a:off x="0" y="852210"/>
            <a:ext cx="4555449" cy="6005791"/>
          </a:xfrm>
          <a:custGeom>
            <a:avLst/>
            <a:gdLst>
              <a:gd name="connsiteX0" fmla="*/ 0 w 4555449"/>
              <a:gd name="connsiteY0" fmla="*/ 0 h 6005791"/>
              <a:gd name="connsiteX1" fmla="*/ 4481203 w 4555449"/>
              <a:gd name="connsiteY1" fmla="*/ 4481204 h 6005791"/>
              <a:gd name="connsiteX2" fmla="*/ 4481203 w 4555449"/>
              <a:gd name="connsiteY2" fmla="*/ 4840522 h 6005791"/>
              <a:gd name="connsiteX3" fmla="*/ 3315934 w 4555449"/>
              <a:gd name="connsiteY3" fmla="*/ 6005791 h 6005791"/>
              <a:gd name="connsiteX4" fmla="*/ 2717293 w 4555449"/>
              <a:gd name="connsiteY4" fmla="*/ 6005791 h 6005791"/>
              <a:gd name="connsiteX5" fmla="*/ 4062553 w 4555449"/>
              <a:gd name="connsiteY5" fmla="*/ 4660530 h 6005791"/>
              <a:gd name="connsiteX6" fmla="*/ 0 w 4555449"/>
              <a:gd name="connsiteY6" fmla="*/ 597975 h 6005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555449" h="6005791">
                <a:moveTo>
                  <a:pt x="0" y="0"/>
                </a:moveTo>
                <a:lnTo>
                  <a:pt x="4481203" y="4481204"/>
                </a:lnTo>
                <a:cubicBezTo>
                  <a:pt x="4580198" y="4580200"/>
                  <a:pt x="4580198" y="4741526"/>
                  <a:pt x="4481203" y="4840522"/>
                </a:cubicBezTo>
                <a:lnTo>
                  <a:pt x="3315934" y="6005791"/>
                </a:lnTo>
                <a:lnTo>
                  <a:pt x="2717293" y="6005791"/>
                </a:lnTo>
                <a:lnTo>
                  <a:pt x="4062553" y="4660530"/>
                </a:lnTo>
                <a:lnTo>
                  <a:pt x="0" y="597975"/>
                </a:ln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37273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hne Bild tiefen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4C025702-5674-BD89-5E9E-8C773B7CF1D4}"/>
              </a:ext>
            </a:extLst>
          </p:cNvPr>
          <p:cNvSpPr/>
          <p:nvPr userDrawn="1"/>
        </p:nvSpPr>
        <p:spPr>
          <a:xfrm flipH="1">
            <a:off x="8364119" y="3852428"/>
            <a:ext cx="3827881" cy="3005572"/>
          </a:xfrm>
          <a:custGeom>
            <a:avLst/>
            <a:gdLst>
              <a:gd name="connsiteX0" fmla="*/ 717313 w 3827881"/>
              <a:gd name="connsiteY0" fmla="*/ 0 h 3005572"/>
              <a:gd name="connsiteX1" fmla="*/ 537654 w 3827881"/>
              <a:gd name="connsiteY1" fmla="*/ 74330 h 3005572"/>
              <a:gd name="connsiteX2" fmla="*/ 0 w 3827881"/>
              <a:gd name="connsiteY2" fmla="*/ 611984 h 3005572"/>
              <a:gd name="connsiteX3" fmla="*/ 0 w 3827881"/>
              <a:gd name="connsiteY3" fmla="*/ 1210959 h 3005572"/>
              <a:gd name="connsiteX4" fmla="*/ 717647 w 3827881"/>
              <a:gd name="connsiteY4" fmla="*/ 493312 h 3005572"/>
              <a:gd name="connsiteX5" fmla="*/ 3229905 w 3827881"/>
              <a:gd name="connsiteY5" fmla="*/ 3005572 h 3005572"/>
              <a:gd name="connsiteX6" fmla="*/ 3827881 w 3827881"/>
              <a:gd name="connsiteY6" fmla="*/ 3005572 h 3005572"/>
              <a:gd name="connsiteX7" fmla="*/ 896973 w 3827881"/>
              <a:gd name="connsiteY7" fmla="*/ 74664 h 3005572"/>
              <a:gd name="connsiteX8" fmla="*/ 717313 w 3827881"/>
              <a:gd name="connsiteY8" fmla="*/ 0 h 3005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27881" h="3005572">
                <a:moveTo>
                  <a:pt x="717313" y="0"/>
                </a:moveTo>
                <a:cubicBezTo>
                  <a:pt x="649648" y="0"/>
                  <a:pt x="585652" y="26332"/>
                  <a:pt x="537654" y="74330"/>
                </a:cubicBezTo>
                <a:lnTo>
                  <a:pt x="0" y="611984"/>
                </a:lnTo>
                <a:lnTo>
                  <a:pt x="0" y="1210959"/>
                </a:lnTo>
                <a:lnTo>
                  <a:pt x="717647" y="493312"/>
                </a:lnTo>
                <a:lnTo>
                  <a:pt x="3229905" y="3005572"/>
                </a:lnTo>
                <a:lnTo>
                  <a:pt x="3827881" y="3005572"/>
                </a:lnTo>
                <a:lnTo>
                  <a:pt x="896973" y="74664"/>
                </a:lnTo>
                <a:cubicBezTo>
                  <a:pt x="848975" y="26332"/>
                  <a:pt x="784976" y="0"/>
                  <a:pt x="717313" y="0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C5D5B455-069D-E64D-8068-368BDBD57ACB}"/>
              </a:ext>
            </a:extLst>
          </p:cNvPr>
          <p:cNvSpPr/>
          <p:nvPr userDrawn="1"/>
        </p:nvSpPr>
        <p:spPr>
          <a:xfrm>
            <a:off x="1586880" y="0"/>
            <a:ext cx="7065917" cy="6858000"/>
          </a:xfrm>
          <a:custGeom>
            <a:avLst/>
            <a:gdLst>
              <a:gd name="connsiteX0" fmla="*/ 0 w 7065917"/>
              <a:gd name="connsiteY0" fmla="*/ 0 h 6858000"/>
              <a:gd name="connsiteX1" fmla="*/ 3594511 w 7065917"/>
              <a:gd name="connsiteY1" fmla="*/ 0 h 6858000"/>
              <a:gd name="connsiteX2" fmla="*/ 6619269 w 7065917"/>
              <a:gd name="connsiteY2" fmla="*/ 3024758 h 6858000"/>
              <a:gd name="connsiteX3" fmla="*/ 7065917 w 7065917"/>
              <a:gd name="connsiteY3" fmla="*/ 4103045 h 6858000"/>
              <a:gd name="connsiteX4" fmla="*/ 6618935 w 7065917"/>
              <a:gd name="connsiteY4" fmla="*/ 5181666 h 6858000"/>
              <a:gd name="connsiteX5" fmla="*/ 5114000 w 7065917"/>
              <a:gd name="connsiteY5" fmla="*/ 6686600 h 6858000"/>
              <a:gd name="connsiteX6" fmla="*/ 5113867 w 7065917"/>
              <a:gd name="connsiteY6" fmla="*/ 6686600 h 6858000"/>
              <a:gd name="connsiteX7" fmla="*/ 4942467 w 7065917"/>
              <a:gd name="connsiteY7" fmla="*/ 6858000 h 6858000"/>
              <a:gd name="connsiteX8" fmla="*/ 1347291 w 7065917"/>
              <a:gd name="connsiteY8" fmla="*/ 6858000 h 6858000"/>
              <a:gd name="connsiteX9" fmla="*/ 1643943 w 7065917"/>
              <a:gd name="connsiteY9" fmla="*/ 6561348 h 6858000"/>
              <a:gd name="connsiteX10" fmla="*/ 1644076 w 7065917"/>
              <a:gd name="connsiteY10" fmla="*/ 6561348 h 6858000"/>
              <a:gd name="connsiteX11" fmla="*/ 4102711 w 7065917"/>
              <a:gd name="connsiteY11" fmla="*/ 41027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065917" h="6858000">
                <a:moveTo>
                  <a:pt x="0" y="0"/>
                </a:moveTo>
                <a:lnTo>
                  <a:pt x="3594511" y="0"/>
                </a:lnTo>
                <a:lnTo>
                  <a:pt x="6619269" y="3024758"/>
                </a:lnTo>
                <a:cubicBezTo>
                  <a:pt x="6907257" y="3312746"/>
                  <a:pt x="7065917" y="3695730"/>
                  <a:pt x="7065917" y="4103045"/>
                </a:cubicBezTo>
                <a:cubicBezTo>
                  <a:pt x="7065917" y="4510361"/>
                  <a:pt x="6907257" y="4893677"/>
                  <a:pt x="6618935" y="5181666"/>
                </a:cubicBezTo>
                <a:lnTo>
                  <a:pt x="5114000" y="6686600"/>
                </a:lnTo>
                <a:lnTo>
                  <a:pt x="5113867" y="6686600"/>
                </a:lnTo>
                <a:lnTo>
                  <a:pt x="4942467" y="6858000"/>
                </a:lnTo>
                <a:lnTo>
                  <a:pt x="1347291" y="6858000"/>
                </a:lnTo>
                <a:lnTo>
                  <a:pt x="1643943" y="6561348"/>
                </a:lnTo>
                <a:lnTo>
                  <a:pt x="1644076" y="6561348"/>
                </a:lnTo>
                <a:lnTo>
                  <a:pt x="4102711" y="4102712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2780960"/>
            <a:ext cx="7704236" cy="1656334"/>
          </a:xfrm>
        </p:spPr>
        <p:txBody>
          <a:bodyPr tIns="0" anchor="b" anchorCtr="0"/>
          <a:lstStyle>
            <a:lvl1pPr algn="l">
              <a:lnSpc>
                <a:spcPct val="9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989" y="4509152"/>
            <a:ext cx="5400674" cy="28800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Referent | Datum, Ort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29FA06FD-0F7F-DBF9-09F4-3AB80F2275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48303" y="368300"/>
            <a:ext cx="2535709" cy="468000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831B8548-75EF-F606-196A-78FB9CA596D9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200">
                <a:solidFill>
                  <a:schemeClr val="accent4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Ein Unternehmen der EnBW</a:t>
            </a:r>
          </a:p>
        </p:txBody>
      </p:sp>
    </p:spTree>
    <p:extLst>
      <p:ext uri="{BB962C8B-B14F-4D97-AF65-F5344CB8AC3E}">
        <p14:creationId xmlns:p14="http://schemas.microsoft.com/office/powerpoint/2010/main" val="1001047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ollflächiges Bild ohne Anschnitt hel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6">
            <a:extLst>
              <a:ext uri="{FF2B5EF4-FFF2-40B4-BE49-F238E27FC236}">
                <a16:creationId xmlns:a16="http://schemas.microsoft.com/office/drawing/2014/main" id="{61D46911-DF9A-4D66-8CB1-CB3CEB557B4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bIns="684000" anchor="ctr" anchorCtr="0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620688"/>
            <a:ext cx="5975349" cy="1512168"/>
          </a:xfrm>
        </p:spPr>
        <p:txBody>
          <a:bodyPr tIns="36000"/>
          <a:lstStyle>
            <a:lvl1pPr>
              <a:lnSpc>
                <a:spcPct val="90000"/>
              </a:lnSpc>
              <a:defRPr sz="54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0D042B2-C7E9-4B5C-AD50-55F966D22F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Oktober 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4A83611-03FD-49FB-9AD7-FABD7BF859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D91D3283-C2F0-4AB9-946F-3BD8099E25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2168860"/>
            <a:ext cx="5975350" cy="1620180"/>
          </a:xfrm>
        </p:spPr>
        <p:txBody>
          <a:bodyPr/>
          <a:lstStyle>
            <a:lvl1pPr>
              <a:defRPr sz="1600" b="0">
                <a:solidFill>
                  <a:schemeClr val="tx1"/>
                </a:solidFill>
                <a:latin typeface="+mn-lt"/>
              </a:defRPr>
            </a:lvl1pPr>
            <a:lvl2pPr marL="270000" indent="-270000">
              <a:buClr>
                <a:schemeClr val="bg2"/>
              </a:buClr>
              <a:buFont typeface="Wingdings 2" panose="05020102010507070707" pitchFamily="18" charset="2"/>
              <a:buChar char=""/>
              <a:defRPr sz="1600">
                <a:solidFill>
                  <a:schemeClr val="tx1"/>
                </a:solidFill>
              </a:defRPr>
            </a:lvl2pPr>
            <a:lvl3pPr marL="540000">
              <a:buClr>
                <a:schemeClr val="accent1"/>
              </a:buClr>
              <a:defRPr sz="1600">
                <a:solidFill>
                  <a:schemeClr val="tx1"/>
                </a:solidFill>
              </a:defRPr>
            </a:lvl3pPr>
            <a:lvl4pPr marL="810000">
              <a:defRPr sz="1600">
                <a:solidFill>
                  <a:schemeClr val="tx1"/>
                </a:solidFill>
              </a:defRPr>
            </a:lvl4pPr>
            <a:lvl5pPr marL="1080000"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044038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ollflächiges Bild ohne Anschnitt dunke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6">
            <a:extLst>
              <a:ext uri="{FF2B5EF4-FFF2-40B4-BE49-F238E27FC236}">
                <a16:creationId xmlns:a16="http://schemas.microsoft.com/office/drawing/2014/main" id="{61D46911-DF9A-4D66-8CB1-CB3CEB557B4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wdUpDiag">
            <a:fgClr>
              <a:schemeClr val="accent1"/>
            </a:fgClr>
            <a:bgClr>
              <a:schemeClr val="bg1"/>
            </a:bgClr>
          </a:pattFill>
        </p:spPr>
        <p:txBody>
          <a:bodyPr wrap="square" bIns="684000" anchor="ctr" anchorCtr="0">
            <a:noAutofit/>
          </a:bodyPr>
          <a:lstStyle>
            <a:lvl1pPr algn="ctr">
              <a:defRPr/>
            </a:lvl1pPr>
          </a:lstStyle>
          <a:p>
            <a:r>
              <a:rPr lang="de-DE"/>
              <a:t>Bildplatzhalt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AF8E346-97E6-4DB8-A0EA-E43564EEB8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620688"/>
            <a:ext cx="5975349" cy="1512168"/>
          </a:xfrm>
        </p:spPr>
        <p:txBody>
          <a:bodyPr tIns="36000"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D91D3283-C2F0-4AB9-946F-3BD8099E25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2168860"/>
            <a:ext cx="5975350" cy="1620180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  <a:latin typeface="+mn-lt"/>
              </a:defRPr>
            </a:lvl1pPr>
            <a:lvl2pPr marL="270000" indent="-270000">
              <a:buClr>
                <a:schemeClr val="bg2"/>
              </a:buClr>
              <a:buFont typeface="Wingdings 2" panose="05020102010507070707" pitchFamily="18" charset="2"/>
              <a:buChar char=""/>
              <a:defRPr sz="1600">
                <a:solidFill>
                  <a:schemeClr val="bg1"/>
                </a:solidFill>
              </a:defRPr>
            </a:lvl2pPr>
            <a:lvl3pPr marL="540000">
              <a:buClr>
                <a:schemeClr val="accent1"/>
              </a:buClr>
              <a:defRPr sz="1600">
                <a:solidFill>
                  <a:schemeClr val="bg1"/>
                </a:solidFill>
              </a:defRPr>
            </a:lvl3pPr>
            <a:lvl4pPr marL="810000">
              <a:defRPr sz="1600">
                <a:solidFill>
                  <a:schemeClr val="bg1"/>
                </a:solidFill>
              </a:defRPr>
            </a:lvl4pPr>
            <a:lvl5pPr marL="1080000"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8" name="Fußzeilenplatzhalter 3">
            <a:extLst>
              <a:ext uri="{FF2B5EF4-FFF2-40B4-BE49-F238E27FC236}">
                <a16:creationId xmlns:a16="http://schemas.microsoft.com/office/drawing/2014/main" id="{E168D8DB-F796-4068-ADEF-C0F20B643B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8" y="6543420"/>
            <a:ext cx="10044112" cy="1438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ereit fürs Glasfaserland? | Oktober 2023</a:t>
            </a:r>
          </a:p>
        </p:txBody>
      </p:sp>
      <p:sp>
        <p:nvSpPr>
          <p:cNvPr id="11" name="Foliennummernplatzhalter 4">
            <a:extLst>
              <a:ext uri="{FF2B5EF4-FFF2-40B4-BE49-F238E27FC236}">
                <a16:creationId xmlns:a16="http://schemas.microsoft.com/office/drawing/2014/main" id="{CC1B128C-EBBB-455E-A39C-DBDBC5AAD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BFC357-94BC-44C8-B600-C5D15BBAA3CF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2860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 tiefen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A9F91588-2B36-A559-FF46-B27AE0C9A7D5}"/>
              </a:ext>
            </a:extLst>
          </p:cNvPr>
          <p:cNvSpPr/>
          <p:nvPr userDrawn="1"/>
        </p:nvSpPr>
        <p:spPr>
          <a:xfrm>
            <a:off x="1492345" y="1"/>
            <a:ext cx="7237317" cy="6858000"/>
          </a:xfrm>
          <a:custGeom>
            <a:avLst/>
            <a:gdLst>
              <a:gd name="connsiteX0" fmla="*/ 0 w 7237317"/>
              <a:gd name="connsiteY0" fmla="*/ 0 h 6858000"/>
              <a:gd name="connsiteX1" fmla="*/ 3594511 w 7237317"/>
              <a:gd name="connsiteY1" fmla="*/ 0 h 6858000"/>
              <a:gd name="connsiteX2" fmla="*/ 6790669 w 7237317"/>
              <a:gd name="connsiteY2" fmla="*/ 3196158 h 6858000"/>
              <a:gd name="connsiteX3" fmla="*/ 7237317 w 7237317"/>
              <a:gd name="connsiteY3" fmla="*/ 4274445 h 6858000"/>
              <a:gd name="connsiteX4" fmla="*/ 6790335 w 7237317"/>
              <a:gd name="connsiteY4" fmla="*/ 5353065 h 6858000"/>
              <a:gd name="connsiteX5" fmla="*/ 5285400 w 7237317"/>
              <a:gd name="connsiteY5" fmla="*/ 6858000 h 6858000"/>
              <a:gd name="connsiteX6" fmla="*/ 1690224 w 7237317"/>
              <a:gd name="connsiteY6" fmla="*/ 6858000 h 6858000"/>
              <a:gd name="connsiteX7" fmla="*/ 4274110 w 7237317"/>
              <a:gd name="connsiteY7" fmla="*/ 42741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37317" h="6858000">
                <a:moveTo>
                  <a:pt x="0" y="0"/>
                </a:moveTo>
                <a:lnTo>
                  <a:pt x="3594511" y="0"/>
                </a:lnTo>
                <a:lnTo>
                  <a:pt x="6790669" y="3196158"/>
                </a:lnTo>
                <a:cubicBezTo>
                  <a:pt x="7078657" y="3484146"/>
                  <a:pt x="7237317" y="3867130"/>
                  <a:pt x="7237317" y="4274445"/>
                </a:cubicBezTo>
                <a:cubicBezTo>
                  <a:pt x="7237317" y="4681761"/>
                  <a:pt x="7078657" y="5065077"/>
                  <a:pt x="6790335" y="5353065"/>
                </a:cubicBezTo>
                <a:lnTo>
                  <a:pt x="5285400" y="6858000"/>
                </a:lnTo>
                <a:lnTo>
                  <a:pt x="1690224" y="6858000"/>
                </a:lnTo>
                <a:lnTo>
                  <a:pt x="4274110" y="4274112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 w="33329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A6D16D87-13C6-B738-D5A2-0FF713DFDE8F}"/>
              </a:ext>
            </a:extLst>
          </p:cNvPr>
          <p:cNvSpPr/>
          <p:nvPr userDrawn="1"/>
        </p:nvSpPr>
        <p:spPr>
          <a:xfrm flipH="1">
            <a:off x="7722847" y="3789040"/>
            <a:ext cx="4469153" cy="3068960"/>
          </a:xfrm>
          <a:custGeom>
            <a:avLst/>
            <a:gdLst>
              <a:gd name="connsiteX0" fmla="*/ 1295197 w 4469153"/>
              <a:gd name="connsiteY0" fmla="*/ 0 h 3068960"/>
              <a:gd name="connsiteX1" fmla="*/ 1115538 w 4469153"/>
              <a:gd name="connsiteY1" fmla="*/ 74330 h 3068960"/>
              <a:gd name="connsiteX2" fmla="*/ 0 w 4469153"/>
              <a:gd name="connsiteY2" fmla="*/ 1189868 h 3068960"/>
              <a:gd name="connsiteX3" fmla="*/ 0 w 4469153"/>
              <a:gd name="connsiteY3" fmla="*/ 1788843 h 3068960"/>
              <a:gd name="connsiteX4" fmla="*/ 1295531 w 4469153"/>
              <a:gd name="connsiteY4" fmla="*/ 493312 h 3068960"/>
              <a:gd name="connsiteX5" fmla="*/ 3871177 w 4469153"/>
              <a:gd name="connsiteY5" fmla="*/ 3068960 h 3068960"/>
              <a:gd name="connsiteX6" fmla="*/ 4469153 w 4469153"/>
              <a:gd name="connsiteY6" fmla="*/ 3068960 h 3068960"/>
              <a:gd name="connsiteX7" fmla="*/ 1474857 w 4469153"/>
              <a:gd name="connsiteY7" fmla="*/ 74664 h 3068960"/>
              <a:gd name="connsiteX8" fmla="*/ 1295197 w 4469153"/>
              <a:gd name="connsiteY8" fmla="*/ 0 h 30689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9153" h="3068960">
                <a:moveTo>
                  <a:pt x="1295197" y="0"/>
                </a:moveTo>
                <a:cubicBezTo>
                  <a:pt x="1227532" y="0"/>
                  <a:pt x="1163536" y="26332"/>
                  <a:pt x="1115538" y="74330"/>
                </a:cubicBezTo>
                <a:lnTo>
                  <a:pt x="0" y="1189868"/>
                </a:lnTo>
                <a:lnTo>
                  <a:pt x="0" y="1788843"/>
                </a:lnTo>
                <a:lnTo>
                  <a:pt x="1295531" y="493312"/>
                </a:lnTo>
                <a:lnTo>
                  <a:pt x="3871177" y="3068960"/>
                </a:lnTo>
                <a:lnTo>
                  <a:pt x="4469153" y="3068960"/>
                </a:lnTo>
                <a:lnTo>
                  <a:pt x="1474857" y="74664"/>
                </a:lnTo>
                <a:cubicBezTo>
                  <a:pt x="1426859" y="26332"/>
                  <a:pt x="1362860" y="0"/>
                  <a:pt x="1295197" y="0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D4042A03-EDCB-4342-BC85-2D0233FC1F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8" y="3825044"/>
            <a:ext cx="3270329" cy="2448756"/>
          </a:xfrm>
        </p:spPr>
        <p:txBody>
          <a:bodyPr/>
          <a:lstStyle>
            <a:lvl1pPr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  <a:lvl2pPr>
              <a:spcAft>
                <a:spcPts val="600"/>
              </a:spcAft>
              <a:defRPr>
                <a:solidFill>
                  <a:schemeClr val="bg1"/>
                </a:solidFill>
              </a:defRPr>
            </a:lvl2pPr>
            <a:lvl3pPr>
              <a:spcAft>
                <a:spcPts val="600"/>
              </a:spcAft>
              <a:defRPr>
                <a:solidFill>
                  <a:schemeClr val="bg1"/>
                </a:solidFill>
              </a:defRPr>
            </a:lvl3pPr>
            <a:lvl4pPr>
              <a:spcAft>
                <a:spcPts val="600"/>
              </a:spcAft>
              <a:defRPr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Nam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5F4288F3-C68F-466B-A942-1B2139AC54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98082" y="3825044"/>
            <a:ext cx="3269518" cy="2448756"/>
          </a:xfrm>
        </p:spPr>
        <p:txBody>
          <a:bodyPr/>
          <a:lstStyle>
            <a:lvl1pPr>
              <a:spcAft>
                <a:spcPts val="0"/>
              </a:spcAft>
              <a:defRPr sz="1600">
                <a:solidFill>
                  <a:schemeClr val="bg1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bg1"/>
                </a:solidFill>
              </a:defRPr>
            </a:lvl2pPr>
            <a:lvl3pPr>
              <a:spcAft>
                <a:spcPts val="600"/>
              </a:spcAft>
              <a:defRPr sz="1600">
                <a:solidFill>
                  <a:schemeClr val="bg1"/>
                </a:solidFill>
              </a:defRPr>
            </a:lvl3pPr>
            <a:lvl4pPr>
              <a:spcAft>
                <a:spcPts val="600"/>
              </a:spcAft>
              <a:defRPr sz="1600">
                <a:solidFill>
                  <a:schemeClr val="bg1"/>
                </a:solidFill>
              </a:defRPr>
            </a:lvl4pPr>
            <a:lvl5pPr>
              <a:spcAft>
                <a:spcPts val="60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Name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41AE2C6D-8CD1-41E2-B1D0-EA3AADE942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536700"/>
            <a:ext cx="8640762" cy="1424248"/>
          </a:xfrm>
        </p:spPr>
        <p:txBody>
          <a:bodyPr anchor="b" anchorCtr="0"/>
          <a:lstStyle>
            <a:lvl1pPr>
              <a:defRPr sz="9600">
                <a:solidFill>
                  <a:schemeClr val="bg1"/>
                </a:solidFill>
              </a:defRPr>
            </a:lvl1pPr>
          </a:lstStyle>
          <a:p>
            <a:r>
              <a:rPr lang="de-DE"/>
              <a:t>Vielen Dank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06F3802-CED9-9F76-7325-76DFCCF287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48303" y="368300"/>
            <a:ext cx="2535709" cy="468000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C6921161-00D5-3EE7-CA54-871E10466326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200">
                <a:solidFill>
                  <a:schemeClr val="accent4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Ein Unternehmen der EnBW</a:t>
            </a:r>
          </a:p>
        </p:txBody>
      </p:sp>
    </p:spTree>
    <p:extLst>
      <p:ext uri="{BB962C8B-B14F-4D97-AF65-F5344CB8AC3E}">
        <p14:creationId xmlns:p14="http://schemas.microsoft.com/office/powerpoint/2010/main" val="3563066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bschluss warmgr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ihandform: Form 2">
            <a:extLst>
              <a:ext uri="{FF2B5EF4-FFF2-40B4-BE49-F238E27FC236}">
                <a16:creationId xmlns:a16="http://schemas.microsoft.com/office/drawing/2014/main" id="{3437200E-6A14-CD69-B069-4975CCB7E99F}"/>
              </a:ext>
            </a:extLst>
          </p:cNvPr>
          <p:cNvSpPr/>
          <p:nvPr userDrawn="1"/>
        </p:nvSpPr>
        <p:spPr>
          <a:xfrm>
            <a:off x="1492345" y="1"/>
            <a:ext cx="7237317" cy="6858000"/>
          </a:xfrm>
          <a:custGeom>
            <a:avLst/>
            <a:gdLst>
              <a:gd name="connsiteX0" fmla="*/ 0 w 7237317"/>
              <a:gd name="connsiteY0" fmla="*/ 0 h 6858000"/>
              <a:gd name="connsiteX1" fmla="*/ 3594511 w 7237317"/>
              <a:gd name="connsiteY1" fmla="*/ 0 h 6858000"/>
              <a:gd name="connsiteX2" fmla="*/ 6790669 w 7237317"/>
              <a:gd name="connsiteY2" fmla="*/ 3196158 h 6858000"/>
              <a:gd name="connsiteX3" fmla="*/ 7237317 w 7237317"/>
              <a:gd name="connsiteY3" fmla="*/ 4274445 h 6858000"/>
              <a:gd name="connsiteX4" fmla="*/ 6790335 w 7237317"/>
              <a:gd name="connsiteY4" fmla="*/ 5353065 h 6858000"/>
              <a:gd name="connsiteX5" fmla="*/ 5285400 w 7237317"/>
              <a:gd name="connsiteY5" fmla="*/ 6858000 h 6858000"/>
              <a:gd name="connsiteX6" fmla="*/ 1690224 w 7237317"/>
              <a:gd name="connsiteY6" fmla="*/ 6858000 h 6858000"/>
              <a:gd name="connsiteX7" fmla="*/ 4274110 w 7237317"/>
              <a:gd name="connsiteY7" fmla="*/ 42741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37317" h="6858000">
                <a:moveTo>
                  <a:pt x="0" y="0"/>
                </a:moveTo>
                <a:lnTo>
                  <a:pt x="3594511" y="0"/>
                </a:lnTo>
                <a:lnTo>
                  <a:pt x="6790669" y="3196158"/>
                </a:lnTo>
                <a:cubicBezTo>
                  <a:pt x="7078657" y="3484146"/>
                  <a:pt x="7237317" y="3867130"/>
                  <a:pt x="7237317" y="4274445"/>
                </a:cubicBezTo>
                <a:cubicBezTo>
                  <a:pt x="7237317" y="4681761"/>
                  <a:pt x="7078657" y="5065077"/>
                  <a:pt x="6790335" y="5353065"/>
                </a:cubicBezTo>
                <a:lnTo>
                  <a:pt x="5285400" y="6858000"/>
                </a:lnTo>
                <a:lnTo>
                  <a:pt x="1690224" y="6858000"/>
                </a:lnTo>
                <a:lnTo>
                  <a:pt x="4274110" y="4274112"/>
                </a:lnTo>
                <a:close/>
              </a:path>
            </a:pathLst>
          </a:custGeom>
          <a:solidFill>
            <a:srgbClr val="C3BCB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>
              <a:solidFill>
                <a:schemeClr val="lt1"/>
              </a:solidFill>
            </a:endParaRPr>
          </a:p>
        </p:txBody>
      </p:sp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FFC05AFE-6032-026F-6E6E-FEA7AFD8A476}"/>
              </a:ext>
            </a:extLst>
          </p:cNvPr>
          <p:cNvSpPr/>
          <p:nvPr userDrawn="1"/>
        </p:nvSpPr>
        <p:spPr>
          <a:xfrm flipH="1">
            <a:off x="7722847" y="3789040"/>
            <a:ext cx="4469153" cy="3068960"/>
          </a:xfrm>
          <a:custGeom>
            <a:avLst/>
            <a:gdLst>
              <a:gd name="connsiteX0" fmla="*/ 1295197 w 4469153"/>
              <a:gd name="connsiteY0" fmla="*/ 0 h 3068960"/>
              <a:gd name="connsiteX1" fmla="*/ 1115538 w 4469153"/>
              <a:gd name="connsiteY1" fmla="*/ 74330 h 3068960"/>
              <a:gd name="connsiteX2" fmla="*/ 0 w 4469153"/>
              <a:gd name="connsiteY2" fmla="*/ 1189868 h 3068960"/>
              <a:gd name="connsiteX3" fmla="*/ 0 w 4469153"/>
              <a:gd name="connsiteY3" fmla="*/ 1788843 h 3068960"/>
              <a:gd name="connsiteX4" fmla="*/ 1295531 w 4469153"/>
              <a:gd name="connsiteY4" fmla="*/ 493312 h 3068960"/>
              <a:gd name="connsiteX5" fmla="*/ 3871177 w 4469153"/>
              <a:gd name="connsiteY5" fmla="*/ 3068960 h 3068960"/>
              <a:gd name="connsiteX6" fmla="*/ 4469153 w 4469153"/>
              <a:gd name="connsiteY6" fmla="*/ 3068960 h 3068960"/>
              <a:gd name="connsiteX7" fmla="*/ 1474857 w 4469153"/>
              <a:gd name="connsiteY7" fmla="*/ 74664 h 3068960"/>
              <a:gd name="connsiteX8" fmla="*/ 1295197 w 4469153"/>
              <a:gd name="connsiteY8" fmla="*/ 0 h 30689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69153" h="3068960">
                <a:moveTo>
                  <a:pt x="1295197" y="0"/>
                </a:moveTo>
                <a:cubicBezTo>
                  <a:pt x="1227532" y="0"/>
                  <a:pt x="1163536" y="26332"/>
                  <a:pt x="1115538" y="74330"/>
                </a:cubicBezTo>
                <a:lnTo>
                  <a:pt x="0" y="1189868"/>
                </a:lnTo>
                <a:lnTo>
                  <a:pt x="0" y="1788843"/>
                </a:lnTo>
                <a:lnTo>
                  <a:pt x="1295531" y="493312"/>
                </a:lnTo>
                <a:lnTo>
                  <a:pt x="3871177" y="3068960"/>
                </a:lnTo>
                <a:lnTo>
                  <a:pt x="4469153" y="3068960"/>
                </a:lnTo>
                <a:lnTo>
                  <a:pt x="1474857" y="74664"/>
                </a:lnTo>
                <a:cubicBezTo>
                  <a:pt x="1426859" y="26332"/>
                  <a:pt x="1362860" y="0"/>
                  <a:pt x="1295197" y="0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D4042A03-EDCB-4342-BC85-2D0233FC1FC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7988" y="3825044"/>
            <a:ext cx="3270329" cy="2448756"/>
          </a:xfrm>
        </p:spPr>
        <p:txBody>
          <a:bodyPr vert="horz" lIns="0" tIns="0" rIns="0" bIns="0" rtlCol="0">
            <a:noAutofit/>
          </a:bodyPr>
          <a:lstStyle>
            <a:lvl1pPr>
              <a:defRPr lang="de-DE" sz="1600" dirty="0">
                <a:solidFill>
                  <a:srgbClr val="322A26"/>
                </a:solidFill>
              </a:defRPr>
            </a:lvl1pPr>
            <a:lvl2pPr>
              <a:defRPr lang="de-DE" dirty="0">
                <a:solidFill>
                  <a:srgbClr val="322A26"/>
                </a:solidFill>
              </a:defRPr>
            </a:lvl2pPr>
            <a:lvl3pPr>
              <a:defRPr lang="de-DE" dirty="0">
                <a:solidFill>
                  <a:srgbClr val="322A26"/>
                </a:solidFill>
              </a:defRPr>
            </a:lvl3pPr>
            <a:lvl4pPr>
              <a:defRPr lang="de-DE" dirty="0">
                <a:solidFill>
                  <a:srgbClr val="322A26"/>
                </a:solidFill>
              </a:defRPr>
            </a:lvl4pPr>
            <a:lvl5pPr>
              <a:defRPr lang="de-DE" dirty="0">
                <a:solidFill>
                  <a:srgbClr val="322A26"/>
                </a:solidFill>
              </a:defRPr>
            </a:lvl5pPr>
          </a:lstStyle>
          <a:p>
            <a:pPr lvl="0">
              <a:spcAft>
                <a:spcPts val="0"/>
              </a:spcAft>
            </a:pPr>
            <a:r>
              <a:rPr lang="de-DE"/>
              <a:t>Name</a:t>
            </a:r>
          </a:p>
          <a:p>
            <a:pPr lvl="1">
              <a:spcAft>
                <a:spcPts val="600"/>
              </a:spcAft>
            </a:pPr>
            <a:r>
              <a:rPr lang="de-DE"/>
              <a:t>Zweite Ebene</a:t>
            </a:r>
          </a:p>
          <a:p>
            <a:pPr lvl="2">
              <a:spcAft>
                <a:spcPts val="600"/>
              </a:spcAft>
            </a:pPr>
            <a:r>
              <a:rPr lang="de-DE"/>
              <a:t>Dritte Ebene</a:t>
            </a:r>
          </a:p>
          <a:p>
            <a:pPr lvl="3">
              <a:spcAft>
                <a:spcPts val="600"/>
              </a:spcAft>
              <a:buClr>
                <a:schemeClr val="accent1">
                  <a:lumMod val="90000"/>
                </a:schemeClr>
              </a:buClr>
            </a:pPr>
            <a:r>
              <a:rPr lang="de-DE"/>
              <a:t>Vierte Ebene</a:t>
            </a:r>
          </a:p>
          <a:p>
            <a:pPr lvl="4">
              <a:spcAft>
                <a:spcPts val="600"/>
              </a:spcAft>
              <a:buClr>
                <a:schemeClr val="accent1">
                  <a:lumMod val="90000"/>
                </a:schemeClr>
              </a:buClr>
            </a:pPr>
            <a:r>
              <a:rPr lang="de-DE"/>
              <a:t>Fünfte Ebene</a:t>
            </a:r>
          </a:p>
        </p:txBody>
      </p:sp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5F4288F3-C68F-466B-A942-1B2139AC54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98082" y="3825044"/>
            <a:ext cx="3269518" cy="2448756"/>
          </a:xfrm>
        </p:spPr>
        <p:txBody>
          <a:bodyPr vert="horz" lIns="0" tIns="0" rIns="0" bIns="0" rtlCol="0">
            <a:noAutofit/>
          </a:bodyPr>
          <a:lstStyle>
            <a:lvl1pPr>
              <a:defRPr lang="de-DE" sz="1600" dirty="0">
                <a:solidFill>
                  <a:srgbClr val="322A26"/>
                </a:solidFill>
              </a:defRPr>
            </a:lvl1pPr>
            <a:lvl2pPr>
              <a:defRPr lang="de-DE" dirty="0">
                <a:solidFill>
                  <a:srgbClr val="322A26"/>
                </a:solidFill>
              </a:defRPr>
            </a:lvl2pPr>
            <a:lvl3pPr>
              <a:defRPr lang="de-DE" dirty="0">
                <a:solidFill>
                  <a:srgbClr val="322A26"/>
                </a:solidFill>
              </a:defRPr>
            </a:lvl3pPr>
            <a:lvl4pPr>
              <a:defRPr lang="de-DE" dirty="0">
                <a:solidFill>
                  <a:srgbClr val="322A26"/>
                </a:solidFill>
              </a:defRPr>
            </a:lvl4pPr>
            <a:lvl5pPr>
              <a:defRPr lang="de-DE" dirty="0">
                <a:solidFill>
                  <a:srgbClr val="322A26"/>
                </a:solidFill>
              </a:defRPr>
            </a:lvl5pPr>
          </a:lstStyle>
          <a:p>
            <a:pPr lvl="0">
              <a:spcAft>
                <a:spcPts val="0"/>
              </a:spcAft>
            </a:pPr>
            <a:r>
              <a:rPr lang="de-DE"/>
              <a:t>Name</a:t>
            </a:r>
          </a:p>
          <a:p>
            <a:pPr lvl="1">
              <a:spcAft>
                <a:spcPts val="600"/>
              </a:spcAft>
            </a:pPr>
            <a:r>
              <a:rPr lang="de-DE"/>
              <a:t>Zweite Ebene</a:t>
            </a:r>
          </a:p>
          <a:p>
            <a:pPr lvl="2">
              <a:spcAft>
                <a:spcPts val="600"/>
              </a:spcAft>
            </a:pPr>
            <a:r>
              <a:rPr lang="de-DE"/>
              <a:t>Dritte Ebene</a:t>
            </a:r>
          </a:p>
          <a:p>
            <a:pPr lvl="3">
              <a:spcAft>
                <a:spcPts val="600"/>
              </a:spcAft>
              <a:buClr>
                <a:schemeClr val="accent1">
                  <a:lumMod val="90000"/>
                </a:schemeClr>
              </a:buClr>
            </a:pPr>
            <a:r>
              <a:rPr lang="de-DE"/>
              <a:t>Vierte Ebene</a:t>
            </a:r>
          </a:p>
          <a:p>
            <a:pPr lvl="4">
              <a:spcAft>
                <a:spcPts val="600"/>
              </a:spcAft>
              <a:buClr>
                <a:schemeClr val="accent1">
                  <a:lumMod val="90000"/>
                </a:schemeClr>
              </a:buClr>
            </a:pPr>
            <a:r>
              <a:rPr lang="de-DE"/>
              <a:t>Fünfte Ebene</a:t>
            </a: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41AE2C6D-8CD1-41E2-B1D0-EA3AADE942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536700"/>
            <a:ext cx="8640762" cy="1424248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z="9600" dirty="0">
                <a:solidFill>
                  <a:srgbClr val="322A26"/>
                </a:solidFill>
              </a:defRPr>
            </a:lvl1pPr>
          </a:lstStyle>
          <a:p>
            <a:pPr lvl="0"/>
            <a:r>
              <a:rPr lang="de-DE"/>
              <a:t>Vielen Dank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8B79B655-0C7A-80BA-7810-21DE44783CC0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200">
                <a:solidFill>
                  <a:schemeClr val="tx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Ein Unternehmen der EnBW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FB7A18F-3F6B-D5EF-06A3-95FEE2932A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46072" y="368300"/>
            <a:ext cx="2537940" cy="468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647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ohne Bild warmgr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816834FA-F71D-7893-A385-2EFCA82EED8F}"/>
              </a:ext>
            </a:extLst>
          </p:cNvPr>
          <p:cNvSpPr/>
          <p:nvPr userDrawn="1"/>
        </p:nvSpPr>
        <p:spPr>
          <a:xfrm flipH="1">
            <a:off x="8364119" y="3852428"/>
            <a:ext cx="3827881" cy="3005572"/>
          </a:xfrm>
          <a:custGeom>
            <a:avLst/>
            <a:gdLst>
              <a:gd name="connsiteX0" fmla="*/ 717313 w 3827881"/>
              <a:gd name="connsiteY0" fmla="*/ 0 h 3005572"/>
              <a:gd name="connsiteX1" fmla="*/ 537654 w 3827881"/>
              <a:gd name="connsiteY1" fmla="*/ 74330 h 3005572"/>
              <a:gd name="connsiteX2" fmla="*/ 0 w 3827881"/>
              <a:gd name="connsiteY2" fmla="*/ 611984 h 3005572"/>
              <a:gd name="connsiteX3" fmla="*/ 0 w 3827881"/>
              <a:gd name="connsiteY3" fmla="*/ 1210959 h 3005572"/>
              <a:gd name="connsiteX4" fmla="*/ 717647 w 3827881"/>
              <a:gd name="connsiteY4" fmla="*/ 493312 h 3005572"/>
              <a:gd name="connsiteX5" fmla="*/ 3229905 w 3827881"/>
              <a:gd name="connsiteY5" fmla="*/ 3005572 h 3005572"/>
              <a:gd name="connsiteX6" fmla="*/ 3827881 w 3827881"/>
              <a:gd name="connsiteY6" fmla="*/ 3005572 h 3005572"/>
              <a:gd name="connsiteX7" fmla="*/ 896973 w 3827881"/>
              <a:gd name="connsiteY7" fmla="*/ 74664 h 3005572"/>
              <a:gd name="connsiteX8" fmla="*/ 717313 w 3827881"/>
              <a:gd name="connsiteY8" fmla="*/ 0 h 3005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27881" h="3005572">
                <a:moveTo>
                  <a:pt x="717313" y="0"/>
                </a:moveTo>
                <a:cubicBezTo>
                  <a:pt x="649648" y="0"/>
                  <a:pt x="585652" y="26332"/>
                  <a:pt x="537654" y="74330"/>
                </a:cubicBezTo>
                <a:lnTo>
                  <a:pt x="0" y="611984"/>
                </a:lnTo>
                <a:lnTo>
                  <a:pt x="0" y="1210959"/>
                </a:lnTo>
                <a:lnTo>
                  <a:pt x="717647" y="493312"/>
                </a:lnTo>
                <a:lnTo>
                  <a:pt x="3229905" y="3005572"/>
                </a:lnTo>
                <a:lnTo>
                  <a:pt x="3827881" y="3005572"/>
                </a:lnTo>
                <a:lnTo>
                  <a:pt x="896973" y="74664"/>
                </a:lnTo>
                <a:cubicBezTo>
                  <a:pt x="848975" y="26332"/>
                  <a:pt x="784976" y="0"/>
                  <a:pt x="717313" y="0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DB2E9C2C-C70B-5703-AD2A-A269D80441B3}"/>
              </a:ext>
            </a:extLst>
          </p:cNvPr>
          <p:cNvSpPr/>
          <p:nvPr userDrawn="1"/>
        </p:nvSpPr>
        <p:spPr>
          <a:xfrm>
            <a:off x="1586880" y="0"/>
            <a:ext cx="7065917" cy="6858000"/>
          </a:xfrm>
          <a:custGeom>
            <a:avLst/>
            <a:gdLst>
              <a:gd name="connsiteX0" fmla="*/ 0 w 7065917"/>
              <a:gd name="connsiteY0" fmla="*/ 0 h 6858000"/>
              <a:gd name="connsiteX1" fmla="*/ 3594511 w 7065917"/>
              <a:gd name="connsiteY1" fmla="*/ 0 h 6858000"/>
              <a:gd name="connsiteX2" fmla="*/ 6619269 w 7065917"/>
              <a:gd name="connsiteY2" fmla="*/ 3024758 h 6858000"/>
              <a:gd name="connsiteX3" fmla="*/ 7065917 w 7065917"/>
              <a:gd name="connsiteY3" fmla="*/ 4103045 h 6858000"/>
              <a:gd name="connsiteX4" fmla="*/ 6618935 w 7065917"/>
              <a:gd name="connsiteY4" fmla="*/ 5181666 h 6858000"/>
              <a:gd name="connsiteX5" fmla="*/ 5114000 w 7065917"/>
              <a:gd name="connsiteY5" fmla="*/ 6686600 h 6858000"/>
              <a:gd name="connsiteX6" fmla="*/ 5113867 w 7065917"/>
              <a:gd name="connsiteY6" fmla="*/ 6686600 h 6858000"/>
              <a:gd name="connsiteX7" fmla="*/ 4942467 w 7065917"/>
              <a:gd name="connsiteY7" fmla="*/ 6858000 h 6858000"/>
              <a:gd name="connsiteX8" fmla="*/ 1347291 w 7065917"/>
              <a:gd name="connsiteY8" fmla="*/ 6858000 h 6858000"/>
              <a:gd name="connsiteX9" fmla="*/ 1643943 w 7065917"/>
              <a:gd name="connsiteY9" fmla="*/ 6561348 h 6858000"/>
              <a:gd name="connsiteX10" fmla="*/ 1644076 w 7065917"/>
              <a:gd name="connsiteY10" fmla="*/ 6561348 h 6858000"/>
              <a:gd name="connsiteX11" fmla="*/ 4102711 w 7065917"/>
              <a:gd name="connsiteY11" fmla="*/ 41027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065917" h="6858000">
                <a:moveTo>
                  <a:pt x="0" y="0"/>
                </a:moveTo>
                <a:lnTo>
                  <a:pt x="3594511" y="0"/>
                </a:lnTo>
                <a:lnTo>
                  <a:pt x="6619269" y="3024758"/>
                </a:lnTo>
                <a:cubicBezTo>
                  <a:pt x="6907257" y="3312746"/>
                  <a:pt x="7065917" y="3695730"/>
                  <a:pt x="7065917" y="4103045"/>
                </a:cubicBezTo>
                <a:cubicBezTo>
                  <a:pt x="7065917" y="4510361"/>
                  <a:pt x="6907257" y="4893677"/>
                  <a:pt x="6618935" y="5181666"/>
                </a:cubicBezTo>
                <a:lnTo>
                  <a:pt x="5114000" y="6686600"/>
                </a:lnTo>
                <a:lnTo>
                  <a:pt x="5113867" y="6686600"/>
                </a:lnTo>
                <a:lnTo>
                  <a:pt x="4942467" y="6858000"/>
                </a:lnTo>
                <a:lnTo>
                  <a:pt x="1347291" y="6858000"/>
                </a:lnTo>
                <a:lnTo>
                  <a:pt x="1643943" y="6561348"/>
                </a:lnTo>
                <a:lnTo>
                  <a:pt x="1644076" y="6561348"/>
                </a:lnTo>
                <a:lnTo>
                  <a:pt x="4102711" y="4102712"/>
                </a:lnTo>
                <a:close/>
              </a:path>
            </a:pathLst>
          </a:custGeom>
          <a:solidFill>
            <a:srgbClr val="C3BCB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CC3E297-351D-4502-B3F3-DF30BD7D33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2780960"/>
            <a:ext cx="7704236" cy="1656334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de-DE" sz="6000" dirty="0">
                <a:solidFill>
                  <a:srgbClr val="322A26"/>
                </a:solidFill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9EC0E72-5234-460C-8ED2-16920D4C6F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989" y="4509152"/>
            <a:ext cx="5400674" cy="288000"/>
          </a:xfrm>
        </p:spPr>
        <p:txBody>
          <a:bodyPr vert="horz" lIns="0" tIns="0" rIns="0" bIns="0" rtlCol="0">
            <a:noAutofit/>
          </a:bodyPr>
          <a:lstStyle>
            <a:lvl1pPr>
              <a:defRPr lang="de-DE" dirty="0">
                <a:solidFill>
                  <a:srgbClr val="322A26"/>
                </a:solidFill>
              </a:defRPr>
            </a:lvl1pPr>
          </a:lstStyle>
          <a:p>
            <a:pPr lvl="0"/>
            <a:r>
              <a:rPr lang="de-DE"/>
              <a:t>Referent | Datum, Ort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373B8FBF-E700-4CCC-EC0E-2A789BF01B5E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200">
                <a:solidFill>
                  <a:schemeClr val="tx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Ein Unternehmen der EnBW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25F89C61-2668-B61F-93C3-DACDA3B89C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46072" y="368300"/>
            <a:ext cx="2537940" cy="468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684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 tiefenblau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00A8A0F6-121C-99E3-C6D4-49EA97848329}"/>
              </a:ext>
            </a:extLst>
          </p:cNvPr>
          <p:cNvSpPr/>
          <p:nvPr userDrawn="1"/>
        </p:nvSpPr>
        <p:spPr>
          <a:xfrm flipH="1" flipV="1">
            <a:off x="1" y="1"/>
            <a:ext cx="7645091" cy="5589239"/>
          </a:xfrm>
          <a:custGeom>
            <a:avLst/>
            <a:gdLst>
              <a:gd name="connsiteX0" fmla="*/ 3594511 w 7645091"/>
              <a:gd name="connsiteY0" fmla="*/ 5589239 h 5589239"/>
              <a:gd name="connsiteX1" fmla="*/ 0 w 7645091"/>
              <a:gd name="connsiteY1" fmla="*/ 5589239 h 5589239"/>
              <a:gd name="connsiteX2" fmla="*/ 387422 w 7645091"/>
              <a:gd name="connsiteY2" fmla="*/ 5201817 h 5589239"/>
              <a:gd name="connsiteX3" fmla="*/ 385462 w 7645091"/>
              <a:gd name="connsiteY3" fmla="*/ 5201817 h 5589239"/>
              <a:gd name="connsiteX4" fmla="*/ 5140630 w 7645091"/>
              <a:gd name="connsiteY4" fmla="*/ 446648 h 5589239"/>
              <a:gd name="connsiteX5" fmla="*/ 6218917 w 7645091"/>
              <a:gd name="connsiteY5" fmla="*/ 0 h 5589239"/>
              <a:gd name="connsiteX6" fmla="*/ 7297536 w 7645091"/>
              <a:gd name="connsiteY6" fmla="*/ 446982 h 5589239"/>
              <a:gd name="connsiteX7" fmla="*/ 7645091 w 7645091"/>
              <a:gd name="connsiteY7" fmla="*/ 794537 h 5589239"/>
              <a:gd name="connsiteX8" fmla="*/ 7645091 w 7645091"/>
              <a:gd name="connsiteY8" fmla="*/ 4389048 h 5589239"/>
              <a:gd name="connsiteX9" fmla="*/ 6218917 w 7645091"/>
              <a:gd name="connsiteY9" fmla="*/ 2962873 h 5589239"/>
              <a:gd name="connsiteX10" fmla="*/ 4554515 w 7645091"/>
              <a:gd name="connsiteY10" fmla="*/ 4627275 h 5589239"/>
              <a:gd name="connsiteX11" fmla="*/ 4556475 w 7645091"/>
              <a:gd name="connsiteY11" fmla="*/ 4627275 h 5589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45091" h="5589239">
                <a:moveTo>
                  <a:pt x="3594511" y="5589239"/>
                </a:moveTo>
                <a:lnTo>
                  <a:pt x="0" y="5589239"/>
                </a:lnTo>
                <a:lnTo>
                  <a:pt x="387422" y="5201817"/>
                </a:lnTo>
                <a:lnTo>
                  <a:pt x="385462" y="5201817"/>
                </a:lnTo>
                <a:lnTo>
                  <a:pt x="5140630" y="446648"/>
                </a:lnTo>
                <a:cubicBezTo>
                  <a:pt x="5428617" y="158661"/>
                  <a:pt x="5811602" y="0"/>
                  <a:pt x="6218917" y="0"/>
                </a:cubicBezTo>
                <a:cubicBezTo>
                  <a:pt x="6626233" y="0"/>
                  <a:pt x="7009549" y="158661"/>
                  <a:pt x="7297536" y="446982"/>
                </a:cubicBezTo>
                <a:lnTo>
                  <a:pt x="7645091" y="794537"/>
                </a:lnTo>
                <a:lnTo>
                  <a:pt x="7645091" y="4389048"/>
                </a:lnTo>
                <a:lnTo>
                  <a:pt x="6218917" y="2962873"/>
                </a:lnTo>
                <a:lnTo>
                  <a:pt x="4554515" y="4627275"/>
                </a:lnTo>
                <a:lnTo>
                  <a:pt x="4556475" y="4627275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de-DE">
              <a:solidFill>
                <a:schemeClr val="lt1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7882BD-5DEB-44A9-A9DE-F49FC38484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96863"/>
            <a:ext cx="7848253" cy="50384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3BD4BA5-4266-4829-B268-C9ADBED0AA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8" y="1844675"/>
            <a:ext cx="5400676" cy="4429125"/>
          </a:xfrm>
        </p:spPr>
        <p:txBody>
          <a:bodyPr/>
          <a:lstStyle>
            <a:lvl1pPr marL="450000" indent="-450000">
              <a:buClr>
                <a:schemeClr val="bg2"/>
              </a:buClr>
              <a:buFont typeface="+mj-lt"/>
              <a:buAutoNum type="arabicPeriod"/>
              <a:defRPr>
                <a:solidFill>
                  <a:schemeClr val="bg1"/>
                </a:solidFill>
                <a:latin typeface="+mj-lt"/>
              </a:defRPr>
            </a:lvl1pPr>
            <a:lvl2pPr marL="449263" indent="-1588">
              <a:defRPr sz="1800">
                <a:solidFill>
                  <a:schemeClr val="bg1"/>
                </a:solidFill>
                <a:latin typeface="+mj-lt"/>
              </a:defRPr>
            </a:lvl2pPr>
            <a:lvl3pPr marL="720000" indent="-270000">
              <a:defRPr sz="1800">
                <a:solidFill>
                  <a:schemeClr val="bg1"/>
                </a:solidFill>
                <a:latin typeface="+mj-lt"/>
              </a:defRPr>
            </a:lvl3pPr>
            <a:lvl4pPr marL="990600" indent="-270000">
              <a:defRPr sz="1800">
                <a:solidFill>
                  <a:schemeClr val="bg1"/>
                </a:solidFill>
                <a:latin typeface="+mj-lt"/>
              </a:defRPr>
            </a:lvl4pPr>
            <a:lvl5pPr marL="1260000" indent="-270000">
              <a:defRPr sz="1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E78DAEF5-509B-4E69-B18E-1D57173E5EA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096000" y="1844675"/>
            <a:ext cx="5400676" cy="4429125"/>
          </a:xfrm>
        </p:spPr>
        <p:txBody>
          <a:bodyPr/>
          <a:lstStyle>
            <a:lvl1pPr marL="450000" indent="-450000">
              <a:buClr>
                <a:schemeClr val="bg2"/>
              </a:buClr>
              <a:buFont typeface="+mj-lt"/>
              <a:buAutoNum type="arabicPeriod"/>
              <a:defRPr>
                <a:solidFill>
                  <a:schemeClr val="bg1"/>
                </a:solidFill>
                <a:latin typeface="+mj-lt"/>
              </a:defRPr>
            </a:lvl1pPr>
            <a:lvl2pPr marL="449263" indent="-1588">
              <a:defRPr sz="1800">
                <a:solidFill>
                  <a:schemeClr val="bg1"/>
                </a:solidFill>
                <a:latin typeface="+mj-lt"/>
              </a:defRPr>
            </a:lvl2pPr>
            <a:lvl3pPr marL="720000" indent="-270000">
              <a:defRPr sz="1800">
                <a:solidFill>
                  <a:schemeClr val="bg1"/>
                </a:solidFill>
                <a:latin typeface="+mj-lt"/>
              </a:defRPr>
            </a:lvl3pPr>
            <a:lvl4pPr marL="990600" indent="-270000">
              <a:defRPr sz="1800">
                <a:solidFill>
                  <a:schemeClr val="bg1"/>
                </a:solidFill>
                <a:latin typeface="+mj-lt"/>
              </a:defRPr>
            </a:lvl4pPr>
            <a:lvl5pPr marL="1260000" indent="-270000">
              <a:defRPr sz="18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CFB99CEF-E734-4EAF-6A14-9E54EC7276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48303" y="368300"/>
            <a:ext cx="2535709" cy="468000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158EBF3A-AC09-E4F8-9811-B7D9A84BA0DB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200">
                <a:solidFill>
                  <a:schemeClr val="accent4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Ein Unternehmen der EnBW</a:t>
            </a:r>
          </a:p>
        </p:txBody>
      </p:sp>
      <p:sp>
        <p:nvSpPr>
          <p:cNvPr id="9" name="Freihandform: Form 8">
            <a:extLst>
              <a:ext uri="{FF2B5EF4-FFF2-40B4-BE49-F238E27FC236}">
                <a16:creationId xmlns:a16="http://schemas.microsoft.com/office/drawing/2014/main" id="{E6DCE44F-B7DE-09D6-2AE1-F51BF5F61437}"/>
              </a:ext>
            </a:extLst>
          </p:cNvPr>
          <p:cNvSpPr/>
          <p:nvPr userDrawn="1"/>
        </p:nvSpPr>
        <p:spPr>
          <a:xfrm flipH="1">
            <a:off x="8364119" y="3852428"/>
            <a:ext cx="3827881" cy="3005572"/>
          </a:xfrm>
          <a:custGeom>
            <a:avLst/>
            <a:gdLst>
              <a:gd name="connsiteX0" fmla="*/ 717313 w 3827881"/>
              <a:gd name="connsiteY0" fmla="*/ 0 h 3005572"/>
              <a:gd name="connsiteX1" fmla="*/ 537654 w 3827881"/>
              <a:gd name="connsiteY1" fmla="*/ 74330 h 3005572"/>
              <a:gd name="connsiteX2" fmla="*/ 0 w 3827881"/>
              <a:gd name="connsiteY2" fmla="*/ 611984 h 3005572"/>
              <a:gd name="connsiteX3" fmla="*/ 0 w 3827881"/>
              <a:gd name="connsiteY3" fmla="*/ 1210959 h 3005572"/>
              <a:gd name="connsiteX4" fmla="*/ 717647 w 3827881"/>
              <a:gd name="connsiteY4" fmla="*/ 493312 h 3005572"/>
              <a:gd name="connsiteX5" fmla="*/ 3229905 w 3827881"/>
              <a:gd name="connsiteY5" fmla="*/ 3005572 h 3005572"/>
              <a:gd name="connsiteX6" fmla="*/ 3827881 w 3827881"/>
              <a:gd name="connsiteY6" fmla="*/ 3005572 h 3005572"/>
              <a:gd name="connsiteX7" fmla="*/ 896973 w 3827881"/>
              <a:gd name="connsiteY7" fmla="*/ 74664 h 3005572"/>
              <a:gd name="connsiteX8" fmla="*/ 717313 w 3827881"/>
              <a:gd name="connsiteY8" fmla="*/ 0 h 3005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27881" h="3005572">
                <a:moveTo>
                  <a:pt x="717313" y="0"/>
                </a:moveTo>
                <a:cubicBezTo>
                  <a:pt x="649648" y="0"/>
                  <a:pt x="585652" y="26332"/>
                  <a:pt x="537654" y="74330"/>
                </a:cubicBezTo>
                <a:lnTo>
                  <a:pt x="0" y="611984"/>
                </a:lnTo>
                <a:lnTo>
                  <a:pt x="0" y="1210959"/>
                </a:lnTo>
                <a:lnTo>
                  <a:pt x="717647" y="493312"/>
                </a:lnTo>
                <a:lnTo>
                  <a:pt x="3229905" y="3005572"/>
                </a:lnTo>
                <a:lnTo>
                  <a:pt x="3827881" y="3005572"/>
                </a:lnTo>
                <a:lnTo>
                  <a:pt x="896973" y="74664"/>
                </a:lnTo>
                <a:cubicBezTo>
                  <a:pt x="848975" y="26332"/>
                  <a:pt x="784976" y="0"/>
                  <a:pt x="717313" y="0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293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 warmgrau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27E5CC45-781C-FC6F-EB51-F71B50CDB6A3}"/>
              </a:ext>
            </a:extLst>
          </p:cNvPr>
          <p:cNvSpPr/>
          <p:nvPr userDrawn="1"/>
        </p:nvSpPr>
        <p:spPr>
          <a:xfrm flipH="1" flipV="1">
            <a:off x="1" y="1"/>
            <a:ext cx="7645091" cy="5589239"/>
          </a:xfrm>
          <a:custGeom>
            <a:avLst/>
            <a:gdLst>
              <a:gd name="connsiteX0" fmla="*/ 3594511 w 7645091"/>
              <a:gd name="connsiteY0" fmla="*/ 5589239 h 5589239"/>
              <a:gd name="connsiteX1" fmla="*/ 0 w 7645091"/>
              <a:gd name="connsiteY1" fmla="*/ 5589239 h 5589239"/>
              <a:gd name="connsiteX2" fmla="*/ 387422 w 7645091"/>
              <a:gd name="connsiteY2" fmla="*/ 5201817 h 5589239"/>
              <a:gd name="connsiteX3" fmla="*/ 385462 w 7645091"/>
              <a:gd name="connsiteY3" fmla="*/ 5201817 h 5589239"/>
              <a:gd name="connsiteX4" fmla="*/ 5140630 w 7645091"/>
              <a:gd name="connsiteY4" fmla="*/ 446648 h 5589239"/>
              <a:gd name="connsiteX5" fmla="*/ 6218917 w 7645091"/>
              <a:gd name="connsiteY5" fmla="*/ 0 h 5589239"/>
              <a:gd name="connsiteX6" fmla="*/ 7297536 w 7645091"/>
              <a:gd name="connsiteY6" fmla="*/ 446982 h 5589239"/>
              <a:gd name="connsiteX7" fmla="*/ 7645091 w 7645091"/>
              <a:gd name="connsiteY7" fmla="*/ 794537 h 5589239"/>
              <a:gd name="connsiteX8" fmla="*/ 7645091 w 7645091"/>
              <a:gd name="connsiteY8" fmla="*/ 4389048 h 5589239"/>
              <a:gd name="connsiteX9" fmla="*/ 6218917 w 7645091"/>
              <a:gd name="connsiteY9" fmla="*/ 2962873 h 5589239"/>
              <a:gd name="connsiteX10" fmla="*/ 4554515 w 7645091"/>
              <a:gd name="connsiteY10" fmla="*/ 4627275 h 5589239"/>
              <a:gd name="connsiteX11" fmla="*/ 4556475 w 7645091"/>
              <a:gd name="connsiteY11" fmla="*/ 4627275 h 5589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7645091" h="5589239">
                <a:moveTo>
                  <a:pt x="3594511" y="5589239"/>
                </a:moveTo>
                <a:lnTo>
                  <a:pt x="0" y="5589239"/>
                </a:lnTo>
                <a:lnTo>
                  <a:pt x="387422" y="5201817"/>
                </a:lnTo>
                <a:lnTo>
                  <a:pt x="385462" y="5201817"/>
                </a:lnTo>
                <a:lnTo>
                  <a:pt x="5140630" y="446648"/>
                </a:lnTo>
                <a:cubicBezTo>
                  <a:pt x="5428617" y="158661"/>
                  <a:pt x="5811602" y="0"/>
                  <a:pt x="6218917" y="0"/>
                </a:cubicBezTo>
                <a:cubicBezTo>
                  <a:pt x="6626233" y="0"/>
                  <a:pt x="7009549" y="158661"/>
                  <a:pt x="7297536" y="446982"/>
                </a:cubicBezTo>
                <a:lnTo>
                  <a:pt x="7645091" y="794537"/>
                </a:lnTo>
                <a:lnTo>
                  <a:pt x="7645091" y="4389048"/>
                </a:lnTo>
                <a:lnTo>
                  <a:pt x="6218917" y="2962873"/>
                </a:lnTo>
                <a:lnTo>
                  <a:pt x="4554515" y="4627275"/>
                </a:lnTo>
                <a:lnTo>
                  <a:pt x="4556475" y="4627275"/>
                </a:lnTo>
                <a:close/>
              </a:path>
            </a:pathLst>
          </a:custGeom>
          <a:solidFill>
            <a:srgbClr val="C3BCB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7882BD-5DEB-44A9-A9DE-F49FC38484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96863"/>
            <a:ext cx="7848253" cy="50384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3BD4BA5-4266-4829-B268-C9ADBED0AA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8" y="1844675"/>
            <a:ext cx="5400676" cy="4429125"/>
          </a:xfrm>
        </p:spPr>
        <p:txBody>
          <a:bodyPr/>
          <a:lstStyle>
            <a:lvl1pPr marL="450000" indent="-4500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1"/>
                </a:solidFill>
                <a:latin typeface="+mj-lt"/>
              </a:defRPr>
            </a:lvl1pPr>
            <a:lvl2pPr marL="449263" indent="-1588">
              <a:defRPr sz="1800">
                <a:solidFill>
                  <a:schemeClr val="tx1"/>
                </a:solidFill>
                <a:latin typeface="+mj-lt"/>
              </a:defRPr>
            </a:lvl2pPr>
            <a:lvl3pPr marL="720000" indent="-270000">
              <a:defRPr sz="1800">
                <a:solidFill>
                  <a:schemeClr val="tx1"/>
                </a:solidFill>
                <a:latin typeface="+mj-lt"/>
              </a:defRPr>
            </a:lvl3pPr>
            <a:lvl4pPr marL="990600" indent="-270000">
              <a:defRPr sz="1800">
                <a:solidFill>
                  <a:schemeClr val="tx1"/>
                </a:solidFill>
                <a:latin typeface="+mj-lt"/>
              </a:defRPr>
            </a:lvl4pPr>
            <a:lvl5pPr marL="1260000" indent="-270000">
              <a:defRPr sz="18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E78DAEF5-509B-4E69-B18E-1D57173E5EA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096000" y="1844675"/>
            <a:ext cx="5400676" cy="4429125"/>
          </a:xfrm>
        </p:spPr>
        <p:txBody>
          <a:bodyPr/>
          <a:lstStyle>
            <a:lvl1pPr marL="450000" indent="-450000">
              <a:buClr>
                <a:schemeClr val="bg2"/>
              </a:buClr>
              <a:buFont typeface="+mj-lt"/>
              <a:buAutoNum type="arabicPeriod"/>
              <a:defRPr>
                <a:solidFill>
                  <a:schemeClr val="tx1"/>
                </a:solidFill>
                <a:latin typeface="+mj-lt"/>
              </a:defRPr>
            </a:lvl1pPr>
            <a:lvl2pPr marL="449263" indent="-1588">
              <a:defRPr sz="1800">
                <a:solidFill>
                  <a:schemeClr val="tx1"/>
                </a:solidFill>
                <a:latin typeface="+mj-lt"/>
              </a:defRPr>
            </a:lvl2pPr>
            <a:lvl3pPr marL="720000" indent="-270000">
              <a:defRPr sz="1800">
                <a:solidFill>
                  <a:schemeClr val="tx1"/>
                </a:solidFill>
                <a:latin typeface="+mj-lt"/>
              </a:defRPr>
            </a:lvl3pPr>
            <a:lvl4pPr marL="990600" indent="-270000">
              <a:defRPr sz="1800">
                <a:solidFill>
                  <a:schemeClr val="tx1"/>
                </a:solidFill>
                <a:latin typeface="+mj-lt"/>
              </a:defRPr>
            </a:lvl4pPr>
            <a:lvl5pPr marL="1260000" indent="-270000">
              <a:defRPr sz="18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4379DAA2-2265-E29C-E9C6-2A8148B09F1A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200">
                <a:solidFill>
                  <a:schemeClr val="tx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Ein Unternehmen der EnBW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D0C7C01E-893A-7C06-3C83-CAE7BCC434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46072" y="368300"/>
            <a:ext cx="2537940" cy="468411"/>
          </a:xfrm>
          <a:prstGeom prst="rect">
            <a:avLst/>
          </a:prstGeom>
        </p:spPr>
      </p:pic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3F533E25-CA77-0A63-9B67-F1B068BD50F0}"/>
              </a:ext>
            </a:extLst>
          </p:cNvPr>
          <p:cNvSpPr/>
          <p:nvPr userDrawn="1"/>
        </p:nvSpPr>
        <p:spPr>
          <a:xfrm flipH="1">
            <a:off x="8364119" y="3852428"/>
            <a:ext cx="3827881" cy="3005572"/>
          </a:xfrm>
          <a:custGeom>
            <a:avLst/>
            <a:gdLst>
              <a:gd name="connsiteX0" fmla="*/ 717313 w 3827881"/>
              <a:gd name="connsiteY0" fmla="*/ 0 h 3005572"/>
              <a:gd name="connsiteX1" fmla="*/ 537654 w 3827881"/>
              <a:gd name="connsiteY1" fmla="*/ 74330 h 3005572"/>
              <a:gd name="connsiteX2" fmla="*/ 0 w 3827881"/>
              <a:gd name="connsiteY2" fmla="*/ 611984 h 3005572"/>
              <a:gd name="connsiteX3" fmla="*/ 0 w 3827881"/>
              <a:gd name="connsiteY3" fmla="*/ 1210959 h 3005572"/>
              <a:gd name="connsiteX4" fmla="*/ 717647 w 3827881"/>
              <a:gd name="connsiteY4" fmla="*/ 493312 h 3005572"/>
              <a:gd name="connsiteX5" fmla="*/ 3229905 w 3827881"/>
              <a:gd name="connsiteY5" fmla="*/ 3005572 h 3005572"/>
              <a:gd name="connsiteX6" fmla="*/ 3827881 w 3827881"/>
              <a:gd name="connsiteY6" fmla="*/ 3005572 h 3005572"/>
              <a:gd name="connsiteX7" fmla="*/ 896973 w 3827881"/>
              <a:gd name="connsiteY7" fmla="*/ 74664 h 3005572"/>
              <a:gd name="connsiteX8" fmla="*/ 717313 w 3827881"/>
              <a:gd name="connsiteY8" fmla="*/ 0 h 30055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827881" h="3005572">
                <a:moveTo>
                  <a:pt x="717313" y="0"/>
                </a:moveTo>
                <a:cubicBezTo>
                  <a:pt x="649648" y="0"/>
                  <a:pt x="585652" y="26332"/>
                  <a:pt x="537654" y="74330"/>
                </a:cubicBezTo>
                <a:lnTo>
                  <a:pt x="0" y="611984"/>
                </a:lnTo>
                <a:lnTo>
                  <a:pt x="0" y="1210959"/>
                </a:lnTo>
                <a:lnTo>
                  <a:pt x="717647" y="493312"/>
                </a:lnTo>
                <a:lnTo>
                  <a:pt x="3229905" y="3005572"/>
                </a:lnTo>
                <a:lnTo>
                  <a:pt x="3827881" y="3005572"/>
                </a:lnTo>
                <a:lnTo>
                  <a:pt x="896973" y="74664"/>
                </a:lnTo>
                <a:cubicBezTo>
                  <a:pt x="848975" y="26332"/>
                  <a:pt x="784976" y="0"/>
                  <a:pt x="717313" y="0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361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er 0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EC308276-889B-9898-A365-84340E0A8D66}"/>
              </a:ext>
            </a:extLst>
          </p:cNvPr>
          <p:cNvSpPr/>
          <p:nvPr userDrawn="1"/>
        </p:nvSpPr>
        <p:spPr>
          <a:xfrm>
            <a:off x="0" y="1251521"/>
            <a:ext cx="11980173" cy="5606481"/>
          </a:xfrm>
          <a:custGeom>
            <a:avLst/>
            <a:gdLst>
              <a:gd name="connsiteX0" fmla="*/ 5742054 w 11980173"/>
              <a:gd name="connsiteY0" fmla="*/ 0 h 5606481"/>
              <a:gd name="connsiteX1" fmla="*/ 6820673 w 11980173"/>
              <a:gd name="connsiteY1" fmla="*/ 446980 h 5606481"/>
              <a:gd name="connsiteX2" fmla="*/ 11980173 w 11980173"/>
              <a:gd name="connsiteY2" fmla="*/ 5606481 h 5606481"/>
              <a:gd name="connsiteX3" fmla="*/ 8385662 w 11980173"/>
              <a:gd name="connsiteY3" fmla="*/ 5606481 h 5606481"/>
              <a:gd name="connsiteX4" fmla="*/ 5742054 w 11980173"/>
              <a:gd name="connsiteY4" fmla="*/ 2962872 h 5606481"/>
              <a:gd name="connsiteX5" fmla="*/ 3098445 w 11980173"/>
              <a:gd name="connsiteY5" fmla="*/ 5606481 h 5606481"/>
              <a:gd name="connsiteX6" fmla="*/ 0 w 11980173"/>
              <a:gd name="connsiteY6" fmla="*/ 5606481 h 5606481"/>
              <a:gd name="connsiteX7" fmla="*/ 0 w 11980173"/>
              <a:gd name="connsiteY7" fmla="*/ 5110415 h 5606481"/>
              <a:gd name="connsiteX8" fmla="*/ 4663768 w 11980173"/>
              <a:gd name="connsiteY8" fmla="*/ 446647 h 5606481"/>
              <a:gd name="connsiteX9" fmla="*/ 5742054 w 11980173"/>
              <a:gd name="connsiteY9" fmla="*/ 0 h 5606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980173" h="5606481">
                <a:moveTo>
                  <a:pt x="5742054" y="0"/>
                </a:moveTo>
                <a:cubicBezTo>
                  <a:pt x="6149370" y="0"/>
                  <a:pt x="6532686" y="158659"/>
                  <a:pt x="6820673" y="446980"/>
                </a:cubicBezTo>
                <a:lnTo>
                  <a:pt x="11980173" y="5606481"/>
                </a:lnTo>
                <a:lnTo>
                  <a:pt x="8385662" y="5606481"/>
                </a:lnTo>
                <a:lnTo>
                  <a:pt x="5742054" y="2962872"/>
                </a:lnTo>
                <a:lnTo>
                  <a:pt x="3098445" y="5606481"/>
                </a:lnTo>
                <a:lnTo>
                  <a:pt x="0" y="5606481"/>
                </a:lnTo>
                <a:lnTo>
                  <a:pt x="0" y="5110415"/>
                </a:lnTo>
                <a:lnTo>
                  <a:pt x="4663768" y="446647"/>
                </a:lnTo>
                <a:cubicBezTo>
                  <a:pt x="4951754" y="158659"/>
                  <a:pt x="5334738" y="0"/>
                  <a:pt x="5742054" y="0"/>
                </a:cubicBez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de-DE">
              <a:solidFill>
                <a:schemeClr val="lt1"/>
              </a:solidFill>
            </a:endParaRPr>
          </a:p>
        </p:txBody>
      </p:sp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F5CC28BB-C65D-3DA4-E056-5B5CB63BD949}"/>
              </a:ext>
            </a:extLst>
          </p:cNvPr>
          <p:cNvSpPr/>
          <p:nvPr userDrawn="1"/>
        </p:nvSpPr>
        <p:spPr>
          <a:xfrm>
            <a:off x="1148757" y="1"/>
            <a:ext cx="3444177" cy="1616761"/>
          </a:xfrm>
          <a:custGeom>
            <a:avLst/>
            <a:gdLst>
              <a:gd name="connsiteX0" fmla="*/ 0 w 3444177"/>
              <a:gd name="connsiteY0" fmla="*/ 0 h 1616761"/>
              <a:gd name="connsiteX1" fmla="*/ 598641 w 3444177"/>
              <a:gd name="connsiteY1" fmla="*/ 0 h 1616761"/>
              <a:gd name="connsiteX2" fmla="*/ 1721754 w 3444177"/>
              <a:gd name="connsiteY2" fmla="*/ 1123114 h 1616761"/>
              <a:gd name="connsiteX3" fmla="*/ 2844869 w 3444177"/>
              <a:gd name="connsiteY3" fmla="*/ 0 h 1616761"/>
              <a:gd name="connsiteX4" fmla="*/ 3444177 w 3444177"/>
              <a:gd name="connsiteY4" fmla="*/ 0 h 1616761"/>
              <a:gd name="connsiteX5" fmla="*/ 1901748 w 3444177"/>
              <a:gd name="connsiteY5" fmla="*/ 1542430 h 1616761"/>
              <a:gd name="connsiteX6" fmla="*/ 1722088 w 3444177"/>
              <a:gd name="connsiteY6" fmla="*/ 1616761 h 1616761"/>
              <a:gd name="connsiteX7" fmla="*/ 1721754 w 3444177"/>
              <a:gd name="connsiteY7" fmla="*/ 1616427 h 1616761"/>
              <a:gd name="connsiteX8" fmla="*/ 1542095 w 3444177"/>
              <a:gd name="connsiteY8" fmla="*/ 1542097 h 1616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44177" h="1616761">
                <a:moveTo>
                  <a:pt x="0" y="0"/>
                </a:moveTo>
                <a:lnTo>
                  <a:pt x="598641" y="0"/>
                </a:lnTo>
                <a:lnTo>
                  <a:pt x="1721754" y="1123114"/>
                </a:lnTo>
                <a:lnTo>
                  <a:pt x="2844869" y="0"/>
                </a:lnTo>
                <a:lnTo>
                  <a:pt x="3444177" y="0"/>
                </a:lnTo>
                <a:lnTo>
                  <a:pt x="1901748" y="1542430"/>
                </a:lnTo>
                <a:cubicBezTo>
                  <a:pt x="1852082" y="1592094"/>
                  <a:pt x="1787086" y="1616761"/>
                  <a:pt x="1722088" y="1616761"/>
                </a:cubicBezTo>
                <a:lnTo>
                  <a:pt x="1721754" y="1616427"/>
                </a:lnTo>
                <a:cubicBezTo>
                  <a:pt x="1656757" y="1616427"/>
                  <a:pt x="1591759" y="1591762"/>
                  <a:pt x="1542095" y="1542097"/>
                </a:cubicBezTo>
                <a:close/>
              </a:path>
            </a:pathLst>
          </a:custGeom>
          <a:solidFill>
            <a:schemeClr val="accent4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9062504-15A4-42DE-845E-42CDB9AA42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5048696"/>
            <a:ext cx="5975350" cy="1225104"/>
          </a:xfrm>
        </p:spPr>
        <p:txBody>
          <a:bodyPr anchor="t" anchorCtr="0"/>
          <a:lstStyle>
            <a:lvl1pPr>
              <a:lnSpc>
                <a:spcPct val="100000"/>
              </a:lnSpc>
              <a:defRPr sz="38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B6A05900-27A0-4454-9ED9-600F1432FD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368" y="1844824"/>
            <a:ext cx="2077492" cy="3024336"/>
          </a:xfrm>
        </p:spPr>
        <p:txBody>
          <a:bodyPr wrap="none" anchor="t" anchorCtr="0">
            <a:noAutofit/>
          </a:bodyPr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23900">
                <a:solidFill>
                  <a:schemeClr val="bg1"/>
                </a:solidFill>
                <a:latin typeface="+mj-lt"/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23900">
                <a:solidFill>
                  <a:schemeClr val="bg1"/>
                </a:solidFill>
                <a:latin typeface="+mj-lt"/>
              </a:defRPr>
            </a:lvl2pPr>
            <a:lvl3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3pPr>
            <a:lvl4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4pPr>
            <a:lvl5pPr marL="0" indent="0">
              <a:spcAft>
                <a:spcPts val="0"/>
              </a:spcAft>
              <a:buNone/>
              <a:defRPr sz="239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e-DE"/>
              <a:t>X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A7849715-44FE-A8BC-DA9D-FA9D2A10BE2C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200">
                <a:solidFill>
                  <a:schemeClr val="accent4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Ein Unternehmen der EnBW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08D295BE-A361-617D-89B1-1BCCE50A1E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48303" y="368300"/>
            <a:ext cx="2535709" cy="468000"/>
          </a:xfrm>
          <a:prstGeom prst="rect">
            <a:avLst/>
          </a:prstGeom>
        </p:spPr>
      </p:pic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F58FBC1E-216D-F15B-B55B-676B996A0716}"/>
              </a:ext>
            </a:extLst>
          </p:cNvPr>
          <p:cNvSpPr/>
          <p:nvPr userDrawn="1"/>
        </p:nvSpPr>
        <p:spPr>
          <a:xfrm rot="5400000" flipH="1" flipV="1">
            <a:off x="7422327" y="2088328"/>
            <a:ext cx="4358246" cy="5181098"/>
          </a:xfrm>
          <a:custGeom>
            <a:avLst/>
            <a:gdLst>
              <a:gd name="connsiteX0" fmla="*/ 4358246 w 4358246"/>
              <a:gd name="connsiteY0" fmla="*/ 4463660 h 5181098"/>
              <a:gd name="connsiteX1" fmla="*/ 4284000 w 4358246"/>
              <a:gd name="connsiteY1" fmla="*/ 4643319 h 5181098"/>
              <a:gd name="connsiteX2" fmla="*/ 3746221 w 4358246"/>
              <a:gd name="connsiteY2" fmla="*/ 5181098 h 5181098"/>
              <a:gd name="connsiteX3" fmla="*/ 3147579 w 4358246"/>
              <a:gd name="connsiteY3" fmla="*/ 5181098 h 5181098"/>
              <a:gd name="connsiteX4" fmla="*/ 3865350 w 4358246"/>
              <a:gd name="connsiteY4" fmla="*/ 4463327 h 5181098"/>
              <a:gd name="connsiteX5" fmla="*/ 0 w 4358246"/>
              <a:gd name="connsiteY5" fmla="*/ 597975 h 5181098"/>
              <a:gd name="connsiteX6" fmla="*/ 0 w 4358246"/>
              <a:gd name="connsiteY6" fmla="*/ 0 h 5181098"/>
              <a:gd name="connsiteX7" fmla="*/ 4284000 w 4358246"/>
              <a:gd name="connsiteY7" fmla="*/ 4284001 h 5181098"/>
              <a:gd name="connsiteX8" fmla="*/ 4358246 w 4358246"/>
              <a:gd name="connsiteY8" fmla="*/ 4463660 h 5181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358246" h="5181098">
                <a:moveTo>
                  <a:pt x="4358246" y="4463660"/>
                </a:moveTo>
                <a:cubicBezTo>
                  <a:pt x="4358246" y="4528740"/>
                  <a:pt x="4333497" y="4593821"/>
                  <a:pt x="4284000" y="4643319"/>
                </a:cubicBezTo>
                <a:lnTo>
                  <a:pt x="3746221" y="5181098"/>
                </a:lnTo>
                <a:lnTo>
                  <a:pt x="3147579" y="5181098"/>
                </a:lnTo>
                <a:lnTo>
                  <a:pt x="3865350" y="4463327"/>
                </a:lnTo>
                <a:lnTo>
                  <a:pt x="0" y="597975"/>
                </a:lnTo>
                <a:lnTo>
                  <a:pt x="0" y="0"/>
                </a:lnTo>
                <a:lnTo>
                  <a:pt x="4284000" y="4284001"/>
                </a:lnTo>
                <a:cubicBezTo>
                  <a:pt x="4333498" y="4333499"/>
                  <a:pt x="4358246" y="4398579"/>
                  <a:pt x="4358246" y="4463660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9728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er 0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ihandform: Form 4">
            <a:extLst>
              <a:ext uri="{FF2B5EF4-FFF2-40B4-BE49-F238E27FC236}">
                <a16:creationId xmlns:a16="http://schemas.microsoft.com/office/drawing/2014/main" id="{05831124-7FE8-5C31-E3CF-C3640C6B9BE3}"/>
              </a:ext>
            </a:extLst>
          </p:cNvPr>
          <p:cNvSpPr/>
          <p:nvPr userDrawn="1"/>
        </p:nvSpPr>
        <p:spPr>
          <a:xfrm>
            <a:off x="0" y="1251521"/>
            <a:ext cx="11980173" cy="5606481"/>
          </a:xfrm>
          <a:custGeom>
            <a:avLst/>
            <a:gdLst>
              <a:gd name="connsiteX0" fmla="*/ 5742054 w 11980173"/>
              <a:gd name="connsiteY0" fmla="*/ 0 h 5606481"/>
              <a:gd name="connsiteX1" fmla="*/ 6820673 w 11980173"/>
              <a:gd name="connsiteY1" fmla="*/ 446980 h 5606481"/>
              <a:gd name="connsiteX2" fmla="*/ 11980173 w 11980173"/>
              <a:gd name="connsiteY2" fmla="*/ 5606481 h 5606481"/>
              <a:gd name="connsiteX3" fmla="*/ 8385662 w 11980173"/>
              <a:gd name="connsiteY3" fmla="*/ 5606481 h 5606481"/>
              <a:gd name="connsiteX4" fmla="*/ 5742054 w 11980173"/>
              <a:gd name="connsiteY4" fmla="*/ 2962872 h 5606481"/>
              <a:gd name="connsiteX5" fmla="*/ 3098445 w 11980173"/>
              <a:gd name="connsiteY5" fmla="*/ 5606481 h 5606481"/>
              <a:gd name="connsiteX6" fmla="*/ 0 w 11980173"/>
              <a:gd name="connsiteY6" fmla="*/ 5606481 h 5606481"/>
              <a:gd name="connsiteX7" fmla="*/ 0 w 11980173"/>
              <a:gd name="connsiteY7" fmla="*/ 5110415 h 5606481"/>
              <a:gd name="connsiteX8" fmla="*/ 4663768 w 11980173"/>
              <a:gd name="connsiteY8" fmla="*/ 446647 h 5606481"/>
              <a:gd name="connsiteX9" fmla="*/ 5742054 w 11980173"/>
              <a:gd name="connsiteY9" fmla="*/ 0 h 5606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980173" h="5606481">
                <a:moveTo>
                  <a:pt x="5742054" y="0"/>
                </a:moveTo>
                <a:cubicBezTo>
                  <a:pt x="6149370" y="0"/>
                  <a:pt x="6532686" y="158659"/>
                  <a:pt x="6820673" y="446980"/>
                </a:cubicBezTo>
                <a:lnTo>
                  <a:pt x="11980173" y="5606481"/>
                </a:lnTo>
                <a:lnTo>
                  <a:pt x="8385662" y="5606481"/>
                </a:lnTo>
                <a:lnTo>
                  <a:pt x="5742054" y="2962872"/>
                </a:lnTo>
                <a:lnTo>
                  <a:pt x="3098445" y="5606481"/>
                </a:lnTo>
                <a:lnTo>
                  <a:pt x="0" y="5606481"/>
                </a:lnTo>
                <a:lnTo>
                  <a:pt x="0" y="5110415"/>
                </a:lnTo>
                <a:lnTo>
                  <a:pt x="4663768" y="446647"/>
                </a:lnTo>
                <a:cubicBezTo>
                  <a:pt x="4951754" y="158659"/>
                  <a:pt x="5334738" y="0"/>
                  <a:pt x="5742054" y="0"/>
                </a:cubicBezTo>
                <a:close/>
              </a:path>
            </a:pathLst>
          </a:custGeom>
          <a:solidFill>
            <a:srgbClr val="C3BCB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9062504-15A4-42DE-845E-42CDB9AA42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5048696"/>
            <a:ext cx="5975350" cy="1225104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de-DE" sz="38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B6A05900-27A0-4454-9ED9-600F1432FD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7368" y="1844824"/>
            <a:ext cx="2077492" cy="3024336"/>
          </a:xfrm>
        </p:spPr>
        <p:txBody>
          <a:bodyPr vert="horz" wrap="none" lIns="0" tIns="0" rIns="0" bIns="0" rtlCol="0" anchor="t" anchorCtr="0">
            <a:noAutofit/>
          </a:bodyPr>
          <a:lstStyle>
            <a:lvl1pPr>
              <a:defRPr lang="de-DE" sz="23900" dirty="0">
                <a:solidFill>
                  <a:schemeClr val="tx1"/>
                </a:solidFill>
              </a:defRPr>
            </a:lvl1pPr>
          </a:lstStyle>
          <a:p>
            <a:pPr lvl="0">
              <a:spcAft>
                <a:spcPts val="0"/>
              </a:spcAft>
            </a:pPr>
            <a:r>
              <a:rPr lang="de-DE"/>
              <a:t>X</a:t>
            </a:r>
          </a:p>
        </p:txBody>
      </p:sp>
      <p:sp>
        <p:nvSpPr>
          <p:cNvPr id="6" name="Freihandform: Form 5">
            <a:extLst>
              <a:ext uri="{FF2B5EF4-FFF2-40B4-BE49-F238E27FC236}">
                <a16:creationId xmlns:a16="http://schemas.microsoft.com/office/drawing/2014/main" id="{ADBC0D63-17C3-210F-4FA9-01063F4152A7}"/>
              </a:ext>
            </a:extLst>
          </p:cNvPr>
          <p:cNvSpPr/>
          <p:nvPr userDrawn="1"/>
        </p:nvSpPr>
        <p:spPr>
          <a:xfrm>
            <a:off x="1148757" y="1"/>
            <a:ext cx="3444177" cy="1616761"/>
          </a:xfrm>
          <a:custGeom>
            <a:avLst/>
            <a:gdLst>
              <a:gd name="connsiteX0" fmla="*/ 0 w 3444177"/>
              <a:gd name="connsiteY0" fmla="*/ 0 h 1616761"/>
              <a:gd name="connsiteX1" fmla="*/ 598641 w 3444177"/>
              <a:gd name="connsiteY1" fmla="*/ 0 h 1616761"/>
              <a:gd name="connsiteX2" fmla="*/ 1721754 w 3444177"/>
              <a:gd name="connsiteY2" fmla="*/ 1123114 h 1616761"/>
              <a:gd name="connsiteX3" fmla="*/ 2844869 w 3444177"/>
              <a:gd name="connsiteY3" fmla="*/ 0 h 1616761"/>
              <a:gd name="connsiteX4" fmla="*/ 3444177 w 3444177"/>
              <a:gd name="connsiteY4" fmla="*/ 0 h 1616761"/>
              <a:gd name="connsiteX5" fmla="*/ 1901748 w 3444177"/>
              <a:gd name="connsiteY5" fmla="*/ 1542430 h 1616761"/>
              <a:gd name="connsiteX6" fmla="*/ 1722088 w 3444177"/>
              <a:gd name="connsiteY6" fmla="*/ 1616761 h 1616761"/>
              <a:gd name="connsiteX7" fmla="*/ 1721754 w 3444177"/>
              <a:gd name="connsiteY7" fmla="*/ 1616427 h 1616761"/>
              <a:gd name="connsiteX8" fmla="*/ 1542095 w 3444177"/>
              <a:gd name="connsiteY8" fmla="*/ 1542097 h 1616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444177" h="1616761">
                <a:moveTo>
                  <a:pt x="0" y="0"/>
                </a:moveTo>
                <a:lnTo>
                  <a:pt x="598641" y="0"/>
                </a:lnTo>
                <a:lnTo>
                  <a:pt x="1721754" y="1123114"/>
                </a:lnTo>
                <a:lnTo>
                  <a:pt x="2844869" y="0"/>
                </a:lnTo>
                <a:lnTo>
                  <a:pt x="3444177" y="0"/>
                </a:lnTo>
                <a:lnTo>
                  <a:pt x="1901748" y="1542430"/>
                </a:lnTo>
                <a:cubicBezTo>
                  <a:pt x="1852082" y="1592094"/>
                  <a:pt x="1787086" y="1616761"/>
                  <a:pt x="1722088" y="1616761"/>
                </a:cubicBezTo>
                <a:lnTo>
                  <a:pt x="1721754" y="1616427"/>
                </a:lnTo>
                <a:cubicBezTo>
                  <a:pt x="1656757" y="1616427"/>
                  <a:pt x="1591759" y="1591762"/>
                  <a:pt x="1542095" y="1542097"/>
                </a:cubicBezTo>
                <a:close/>
              </a:path>
            </a:pathLst>
          </a:custGeom>
          <a:solidFill>
            <a:schemeClr val="accent4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2FB43CA-63B3-3D74-3CF8-F62FAF85B963}"/>
              </a:ext>
            </a:extLst>
          </p:cNvPr>
          <p:cNvSpPr/>
          <p:nvPr userDrawn="1"/>
        </p:nvSpPr>
        <p:spPr>
          <a:xfrm>
            <a:off x="7403468" y="6273800"/>
            <a:ext cx="4380545" cy="2515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r"/>
            <a:r>
              <a:rPr lang="de-DE" sz="1200">
                <a:solidFill>
                  <a:schemeClr val="tx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Ein Unternehmen der EnBW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03A4EC8-569E-275B-1EA3-30EF3624EE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46072" y="368300"/>
            <a:ext cx="2537940" cy="468411"/>
          </a:xfrm>
          <a:prstGeom prst="rect">
            <a:avLst/>
          </a:prstGeom>
        </p:spPr>
      </p:pic>
      <p:sp>
        <p:nvSpPr>
          <p:cNvPr id="4" name="Freihandform: Form 3">
            <a:extLst>
              <a:ext uri="{FF2B5EF4-FFF2-40B4-BE49-F238E27FC236}">
                <a16:creationId xmlns:a16="http://schemas.microsoft.com/office/drawing/2014/main" id="{FBB8E9A7-59B5-8DB2-6351-3B6D467A9F17}"/>
              </a:ext>
            </a:extLst>
          </p:cNvPr>
          <p:cNvSpPr/>
          <p:nvPr userDrawn="1"/>
        </p:nvSpPr>
        <p:spPr>
          <a:xfrm rot="5400000" flipH="1" flipV="1">
            <a:off x="7422327" y="2088328"/>
            <a:ext cx="4358246" cy="5181098"/>
          </a:xfrm>
          <a:custGeom>
            <a:avLst/>
            <a:gdLst>
              <a:gd name="connsiteX0" fmla="*/ 4358246 w 4358246"/>
              <a:gd name="connsiteY0" fmla="*/ 4463660 h 5181098"/>
              <a:gd name="connsiteX1" fmla="*/ 4284000 w 4358246"/>
              <a:gd name="connsiteY1" fmla="*/ 4643319 h 5181098"/>
              <a:gd name="connsiteX2" fmla="*/ 3746221 w 4358246"/>
              <a:gd name="connsiteY2" fmla="*/ 5181098 h 5181098"/>
              <a:gd name="connsiteX3" fmla="*/ 3147579 w 4358246"/>
              <a:gd name="connsiteY3" fmla="*/ 5181098 h 5181098"/>
              <a:gd name="connsiteX4" fmla="*/ 3865350 w 4358246"/>
              <a:gd name="connsiteY4" fmla="*/ 4463327 h 5181098"/>
              <a:gd name="connsiteX5" fmla="*/ 0 w 4358246"/>
              <a:gd name="connsiteY5" fmla="*/ 597975 h 5181098"/>
              <a:gd name="connsiteX6" fmla="*/ 0 w 4358246"/>
              <a:gd name="connsiteY6" fmla="*/ 0 h 5181098"/>
              <a:gd name="connsiteX7" fmla="*/ 4284000 w 4358246"/>
              <a:gd name="connsiteY7" fmla="*/ 4284001 h 5181098"/>
              <a:gd name="connsiteX8" fmla="*/ 4358246 w 4358246"/>
              <a:gd name="connsiteY8" fmla="*/ 4463660 h 5181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358246" h="5181098">
                <a:moveTo>
                  <a:pt x="4358246" y="4463660"/>
                </a:moveTo>
                <a:cubicBezTo>
                  <a:pt x="4358246" y="4528740"/>
                  <a:pt x="4333497" y="4593821"/>
                  <a:pt x="4284000" y="4643319"/>
                </a:cubicBezTo>
                <a:lnTo>
                  <a:pt x="3746221" y="5181098"/>
                </a:lnTo>
                <a:lnTo>
                  <a:pt x="3147579" y="5181098"/>
                </a:lnTo>
                <a:lnTo>
                  <a:pt x="3865350" y="4463327"/>
                </a:lnTo>
                <a:lnTo>
                  <a:pt x="0" y="597975"/>
                </a:lnTo>
                <a:lnTo>
                  <a:pt x="0" y="0"/>
                </a:lnTo>
                <a:lnTo>
                  <a:pt x="4284000" y="4284001"/>
                </a:lnTo>
                <a:cubicBezTo>
                  <a:pt x="4333498" y="4333499"/>
                  <a:pt x="4358246" y="4398579"/>
                  <a:pt x="4358246" y="4463660"/>
                </a:cubicBezTo>
                <a:close/>
              </a:path>
            </a:pathLst>
          </a:custGeom>
          <a:solidFill>
            <a:schemeClr val="bg2"/>
          </a:solidFill>
          <a:ln w="3332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73963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19BD71-7858-4182-B665-B1B000CA78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3FE08A8-E3E5-431E-A8A9-1E3F9BA6808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7" y="1844674"/>
            <a:ext cx="10044113" cy="44291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8394C23-917E-4B8C-BFF7-21B54DA451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Oktober 202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C3170B6-152E-4A77-9854-50B7ECD5A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6731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619BD71-7858-4182-B665-B1B000CA78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3FE08A8-E3E5-431E-A8A9-1E3F9BA6808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1844674"/>
            <a:ext cx="5399980" cy="44291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288A12D-FB13-4872-B1A8-27479FFAA3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84032" y="1844674"/>
            <a:ext cx="5399980" cy="442912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8394C23-917E-4B8C-BFF7-21B54DA451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Oktober 202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C3170B6-152E-4A77-9854-50B7ECD5A9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934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E20D257-8A9B-EDBE-C35A-557C834645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000336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6" imgW="425" imgH="424" progId="TCLayout.ActiveDocument.1">
                  <p:embed/>
                </p:oleObj>
              </mc:Choice>
              <mc:Fallback>
                <p:oleObj name="think-cell Folie" r:id="rId26" imgW="425" imgH="42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20D257-8A9B-EDBE-C35A-557C834645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0D4A662B-B6C6-4BE2-B11D-B4B1C06750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96863"/>
            <a:ext cx="8784357" cy="50384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F794896-4FD7-4947-86D4-5A6FD82C70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844675"/>
            <a:ext cx="11376025" cy="44291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BD80C1E-FA8A-4067-9BBF-B43D41E7C8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7987" y="6543420"/>
            <a:ext cx="10044113" cy="143869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/>
              <a:t>Bereit fürs Glasfaserland? | Oktober 202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C18E19E-546D-45F0-BDB6-91738FC9EF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99850" y="6543420"/>
            <a:ext cx="281577" cy="143868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1000" b="0">
                <a:solidFill>
                  <a:schemeClr val="tx1"/>
                </a:solidFill>
              </a:defRPr>
            </a:lvl1pPr>
          </a:lstStyle>
          <a:p>
            <a:fld id="{0BBFC357-94BC-44C8-B600-C5D15BBAA3CF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122" name="Grafik 121">
            <a:extLst>
              <a:ext uri="{FF2B5EF4-FFF2-40B4-BE49-F238E27FC236}">
                <a16:creationId xmlns:a16="http://schemas.microsoft.com/office/drawing/2014/main" id="{6814D405-5A85-E5BD-560F-1D66360E6CF3}"/>
              </a:ext>
            </a:extLst>
          </p:cNvPr>
          <p:cNvPicPr>
            <a:picLocks noChangeAspect="1"/>
          </p:cNvPicPr>
          <p:nvPr userDrawn="1"/>
        </p:nvPicPr>
        <p:blipFill>
          <a:blip r:embed="rId28">
            <a:extLs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0039349" y="368300"/>
            <a:ext cx="1744663" cy="322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027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38" r:id="rId2"/>
    <p:sldLayoutId id="2147483740" r:id="rId3"/>
    <p:sldLayoutId id="2147483718" r:id="rId4"/>
    <p:sldLayoutId id="2147483747" r:id="rId5"/>
    <p:sldLayoutId id="2147483720" r:id="rId6"/>
    <p:sldLayoutId id="2147483741" r:id="rId7"/>
    <p:sldLayoutId id="2147483722" r:id="rId8"/>
    <p:sldLayoutId id="2147483723" r:id="rId9"/>
    <p:sldLayoutId id="2147483724" r:id="rId10"/>
    <p:sldLayoutId id="2147483742" r:id="rId11"/>
    <p:sldLayoutId id="2147483726" r:id="rId12"/>
    <p:sldLayoutId id="2147483727" r:id="rId13"/>
    <p:sldLayoutId id="2147483728" r:id="rId14"/>
    <p:sldLayoutId id="2147483729" r:id="rId15"/>
    <p:sldLayoutId id="2147483730" r:id="rId16"/>
    <p:sldLayoutId id="2147483743" r:id="rId17"/>
    <p:sldLayoutId id="2147483745" r:id="rId18"/>
    <p:sldLayoutId id="2147483746" r:id="rId19"/>
    <p:sldLayoutId id="2147483731" r:id="rId20"/>
    <p:sldLayoutId id="2147483732" r:id="rId21"/>
    <p:sldLayoutId id="2147483733" r:id="rId22"/>
    <p:sldLayoutId id="2147483734" r:id="rId2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7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bg2"/>
        </a:buClr>
        <a:buFont typeface="Wingdings 2" panose="05020102010507070707" pitchFamily="18" charset="2"/>
        <a:buChar char="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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11213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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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35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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62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Wingdings 2" panose="05020102010507070707" pitchFamily="18" charset="2"/>
        <a:buChar char="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62">
          <p15:clr>
            <a:srgbClr val="F26B43"/>
          </p15:clr>
        </p15:guide>
        <p15:guide id="2" pos="257">
          <p15:clr>
            <a:srgbClr val="F26B43"/>
          </p15:clr>
        </p15:guide>
        <p15:guide id="3" pos="7423">
          <p15:clr>
            <a:srgbClr val="F26B43"/>
          </p15:clr>
        </p15:guide>
        <p15:guide id="5" orient="horz" pos="1185">
          <p15:clr>
            <a:srgbClr val="F26B43"/>
          </p15:clr>
        </p15:guide>
        <p15:guide id="6" orient="horz" pos="3952">
          <p15:clr>
            <a:srgbClr val="F26B43"/>
          </p15:clr>
        </p15:guide>
        <p15:guide id="7" pos="3840">
          <p15:clr>
            <a:srgbClr val="F26B43"/>
          </p15:clr>
        </p15:guide>
        <p15:guide id="9" pos="4021">
          <p15:clr>
            <a:srgbClr val="F26B43"/>
          </p15:clr>
        </p15:guide>
        <p15:guide id="11" pos="3659">
          <p15:clr>
            <a:srgbClr val="F26B43"/>
          </p15:clr>
        </p15:guide>
        <p15:guide id="14" orient="horz" pos="232" userDrawn="1">
          <p15:clr>
            <a:srgbClr val="F26B43"/>
          </p15:clr>
        </p15:guide>
        <p15:guide id="15" pos="6584" userDrawn="1">
          <p15:clr>
            <a:srgbClr val="F26B43"/>
          </p15:clr>
        </p15:guide>
        <p15:guide id="16" orient="horz" pos="436" userDrawn="1">
          <p15:clr>
            <a:srgbClr val="F26B43"/>
          </p15:clr>
        </p15:guide>
        <p15:guide id="17" orient="horz" pos="406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svg"/><Relationship Id="rId13" Type="http://schemas.openxmlformats.org/officeDocument/2006/relationships/image" Target="../media/image39.jpe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33.png"/><Relationship Id="rId12" Type="http://schemas.openxmlformats.org/officeDocument/2006/relationships/image" Target="../media/image38.svg"/><Relationship Id="rId17" Type="http://schemas.openxmlformats.org/officeDocument/2006/relationships/image" Target="../media/image43.svg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42.png"/><Relationship Id="rId1" Type="http://schemas.openxmlformats.org/officeDocument/2006/relationships/tags" Target="../tags/tag6.xml"/><Relationship Id="rId6" Type="http://schemas.openxmlformats.org/officeDocument/2006/relationships/image" Target="../media/image32.jpeg"/><Relationship Id="rId11" Type="http://schemas.openxmlformats.org/officeDocument/2006/relationships/image" Target="../media/image37.png"/><Relationship Id="rId5" Type="http://schemas.openxmlformats.org/officeDocument/2006/relationships/image" Target="../media/image1.emf"/><Relationship Id="rId15" Type="http://schemas.openxmlformats.org/officeDocument/2006/relationships/image" Target="../media/image41.svg"/><Relationship Id="rId10" Type="http://schemas.openxmlformats.org/officeDocument/2006/relationships/image" Target="../media/image36.svg"/><Relationship Id="rId4" Type="http://schemas.openxmlformats.org/officeDocument/2006/relationships/oleObject" Target="../embeddings/oleObject4.bin"/><Relationship Id="rId9" Type="http://schemas.openxmlformats.org/officeDocument/2006/relationships/image" Target="../media/image35.png"/><Relationship Id="rId14" Type="http://schemas.openxmlformats.org/officeDocument/2006/relationships/image" Target="../media/image4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46.jpe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.xml"/><Relationship Id="rId6" Type="http://schemas.openxmlformats.org/officeDocument/2006/relationships/image" Target="../media/image45.png"/><Relationship Id="rId5" Type="http://schemas.openxmlformats.org/officeDocument/2006/relationships/image" Target="../media/image44.emf"/><Relationship Id="rId4" Type="http://schemas.openxmlformats.org/officeDocument/2006/relationships/oleObject" Target="../embeddings/oleObject5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sv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47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49.jp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oleObject" Target="../embeddings/oleObject3.bin"/><Relationship Id="rId7" Type="http://schemas.openxmlformats.org/officeDocument/2006/relationships/image" Target="../media/image11.png"/><Relationship Id="rId12" Type="http://schemas.openxmlformats.org/officeDocument/2006/relationships/image" Target="../media/image16.svg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5.xml"/><Relationship Id="rId6" Type="http://schemas.openxmlformats.org/officeDocument/2006/relationships/image" Target="../media/image10.sv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svg"/><Relationship Id="rId4" Type="http://schemas.openxmlformats.org/officeDocument/2006/relationships/image" Target="../media/image1.emf"/><Relationship Id="rId9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9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image" Target="../media/image21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12" Type="http://schemas.openxmlformats.org/officeDocument/2006/relationships/image" Target="../media/image31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27.svg"/><Relationship Id="rId11" Type="http://schemas.openxmlformats.org/officeDocument/2006/relationships/image" Target="../media/image30.png"/><Relationship Id="rId5" Type="http://schemas.openxmlformats.org/officeDocument/2006/relationships/image" Target="../media/image26.png"/><Relationship Id="rId10" Type="http://schemas.openxmlformats.org/officeDocument/2006/relationships/image" Target="../media/image10.svg"/><Relationship Id="rId4" Type="http://schemas.openxmlformats.org/officeDocument/2006/relationships/image" Target="../media/image25.svg"/><Relationship Id="rId9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>
            <a:extLst>
              <a:ext uri="{FF2B5EF4-FFF2-40B4-BE49-F238E27FC236}">
                <a16:creationId xmlns:a16="http://schemas.microsoft.com/office/drawing/2014/main" id="{0BA17D50-B3B8-4603-85F4-C36A245DBF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988" y="2780960"/>
            <a:ext cx="7704236" cy="1656334"/>
          </a:xfrm>
        </p:spPr>
        <p:txBody>
          <a:bodyPr/>
          <a:lstStyle/>
          <a:p>
            <a:r>
              <a:rPr lang="de-DE" dirty="0"/>
              <a:t>Schnelles Internet für Sauldorf</a:t>
            </a:r>
          </a:p>
        </p:txBody>
      </p:sp>
      <p:sp>
        <p:nvSpPr>
          <p:cNvPr id="11" name="Untertitel 10">
            <a:extLst>
              <a:ext uri="{FF2B5EF4-FFF2-40B4-BE49-F238E27FC236}">
                <a16:creationId xmlns:a16="http://schemas.microsoft.com/office/drawing/2014/main" id="{1246060D-EE70-B7B8-F844-ECCD069556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7989" y="4509152"/>
            <a:ext cx="5400674" cy="288000"/>
          </a:xfrm>
        </p:spPr>
        <p:txBody>
          <a:bodyPr/>
          <a:lstStyle/>
          <a:p>
            <a:r>
              <a:rPr lang="de-DE" dirty="0"/>
              <a:t>NetCom BW GmbH | COM GCC</a:t>
            </a:r>
            <a:br>
              <a:rPr lang="de-DE" dirty="0"/>
            </a:br>
            <a:r>
              <a:rPr lang="de-DE" dirty="0"/>
              <a:t>Matthias Troppmann | 10.04.2024, Sauldorf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D5195BE8-6A6C-047E-69EF-6AB84D15CE6C}"/>
              </a:ext>
            </a:extLst>
          </p:cNvPr>
          <p:cNvSpPr/>
          <p:nvPr/>
        </p:nvSpPr>
        <p:spPr>
          <a:xfrm>
            <a:off x="10632504" y="0"/>
            <a:ext cx="1559496" cy="3683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r>
              <a:rPr lang="de-DE" sz="1400" b="1" dirty="0">
                <a:solidFill>
                  <a:schemeClr val="bg1"/>
                </a:solidFill>
              </a:rPr>
              <a:t>Version 3</a:t>
            </a:r>
          </a:p>
        </p:txBody>
      </p:sp>
    </p:spTree>
    <p:extLst>
      <p:ext uri="{BB962C8B-B14F-4D97-AF65-F5344CB8AC3E}">
        <p14:creationId xmlns:p14="http://schemas.microsoft.com/office/powerpoint/2010/main" val="3501468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956D6E8F-FE70-926E-528B-95EE423973C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25" imgH="424" progId="TCLayout.ActiveDocument.1">
                  <p:embed/>
                </p:oleObj>
              </mc:Choice>
              <mc:Fallback>
                <p:oleObj name="think-cell Folie" r:id="rId4" imgW="425" imgH="424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6D6E8F-FE70-926E-528B-95EE423973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" name="Picture 2" descr="Fritzbox 7590 Router von AVM">
            <a:extLst>
              <a:ext uri="{FF2B5EF4-FFF2-40B4-BE49-F238E27FC236}">
                <a16:creationId xmlns:a16="http://schemas.microsoft.com/office/drawing/2014/main" id="{41520FDE-9E1E-8740-EA4A-CDF94E6199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69832" y="1761893"/>
            <a:ext cx="2040673" cy="9761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9CF7C23-9F48-5200-FF2D-C7018AAAED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96863"/>
            <a:ext cx="8784357" cy="503845"/>
          </a:xfrm>
        </p:spPr>
        <p:txBody>
          <a:bodyPr vert="horz"/>
          <a:lstStyle/>
          <a:p>
            <a:r>
              <a:rPr lang="de-DE"/>
              <a:t>Machen Sie mehr aus Ihrem Internetanschlus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C4538A1-ABE3-60A0-87BA-B081F53C7A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fld id="{0BBFC357-94BC-44C8-B600-C5D15BBAA3CF}" type="slidenum">
              <a:rPr lang="de-DE" smtClean="0"/>
              <a:pPr/>
              <a:t>10</a:t>
            </a:fld>
            <a:endParaRPr lang="de-DE"/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3B01472A-A6D2-3051-58C3-5D6C08C458F5}"/>
              </a:ext>
            </a:extLst>
          </p:cNvPr>
          <p:cNvCxnSpPr>
            <a:cxnSpLocks/>
          </p:cNvCxnSpPr>
          <p:nvPr/>
        </p:nvCxnSpPr>
        <p:spPr bwMode="gray">
          <a:xfrm>
            <a:off x="6096000" y="1881188"/>
            <a:ext cx="0" cy="439261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896BAFF3-0EC8-9D0B-44F7-32886F176BBC}"/>
              </a:ext>
            </a:extLst>
          </p:cNvPr>
          <p:cNvCxnSpPr>
            <a:cxnSpLocks/>
          </p:cNvCxnSpPr>
          <p:nvPr/>
        </p:nvCxnSpPr>
        <p:spPr bwMode="gray">
          <a:xfrm>
            <a:off x="407988" y="4077494"/>
            <a:ext cx="5400675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8F653DF0-85AB-9A71-66A8-1707CE09B625}"/>
              </a:ext>
            </a:extLst>
          </p:cNvPr>
          <p:cNvCxnSpPr>
            <a:cxnSpLocks/>
          </p:cNvCxnSpPr>
          <p:nvPr/>
        </p:nvCxnSpPr>
        <p:spPr bwMode="gray">
          <a:xfrm>
            <a:off x="6383338" y="4077494"/>
            <a:ext cx="5400675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2">
            <a:extLst>
              <a:ext uri="{FF2B5EF4-FFF2-40B4-BE49-F238E27FC236}">
                <a16:creationId xmlns:a16="http://schemas.microsoft.com/office/drawing/2014/main" id="{0D77AA57-4F3C-E6CB-B022-A21CBC7EBEF2}"/>
              </a:ext>
            </a:extLst>
          </p:cNvPr>
          <p:cNvSpPr txBox="1">
            <a:spLocks/>
          </p:cNvSpPr>
          <p:nvPr/>
        </p:nvSpPr>
        <p:spPr>
          <a:xfrm>
            <a:off x="6383338" y="1844675"/>
            <a:ext cx="5400694" cy="2052373"/>
          </a:xfrm>
          <a:prstGeom prst="rect">
            <a:avLst/>
          </a:prstGeom>
        </p:spPr>
        <p:txBody>
          <a:bodyPr vert="horz" lIns="900000" tIns="10800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de-DE">
                <a:solidFill>
                  <a:schemeClr val="tx1"/>
                </a:solidFill>
              </a:rPr>
              <a:t>waipu.tv</a:t>
            </a:r>
          </a:p>
          <a:p>
            <a:pPr lvl="1">
              <a:spcAft>
                <a:spcPts val="0"/>
              </a:spcAft>
            </a:pPr>
            <a:r>
              <a:rPr lang="de-DE" sz="1400">
                <a:latin typeface="+mn-lt"/>
              </a:rPr>
              <a:t>Die ideale Lösung für</a:t>
            </a:r>
            <a:br>
              <a:rPr lang="de-DE" sz="1400">
                <a:latin typeface="+mn-lt"/>
              </a:rPr>
            </a:br>
            <a:r>
              <a:rPr lang="de-DE" sz="1400">
                <a:latin typeface="+mn-lt"/>
              </a:rPr>
              <a:t>Fernsehen</a:t>
            </a:r>
            <a:r>
              <a:rPr lang="de-DE" sz="1400"/>
              <a:t> </a:t>
            </a:r>
            <a:r>
              <a:rPr lang="de-DE" sz="1400">
                <a:latin typeface="+mn-lt"/>
              </a:rPr>
              <a:t>in HD-Qualität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1EC601FC-9BEE-19F2-8145-2D816207BF45}"/>
              </a:ext>
            </a:extLst>
          </p:cNvPr>
          <p:cNvSpPr txBox="1">
            <a:spLocks/>
          </p:cNvSpPr>
          <p:nvPr/>
        </p:nvSpPr>
        <p:spPr>
          <a:xfrm>
            <a:off x="407987" y="1844675"/>
            <a:ext cx="5400694" cy="2052373"/>
          </a:xfrm>
          <a:prstGeom prst="rect">
            <a:avLst/>
          </a:prstGeom>
        </p:spPr>
        <p:txBody>
          <a:bodyPr vert="horz" lIns="900000" tIns="10800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de-DE">
                <a:solidFill>
                  <a:schemeClr val="tx1"/>
                </a:solidFill>
              </a:rPr>
              <a:t>WLAN-fähigen Router</a:t>
            </a:r>
          </a:p>
          <a:p>
            <a:pPr lvl="1">
              <a:spcAft>
                <a:spcPts val="0"/>
              </a:spcAft>
            </a:pPr>
            <a:r>
              <a:rPr lang="de-DE" sz="1400"/>
              <a:t>Entspannt und sicher</a:t>
            </a:r>
            <a:br>
              <a:rPr lang="de-DE" sz="1400"/>
            </a:br>
            <a:r>
              <a:rPr lang="de-DE" sz="1400"/>
              <a:t>ins Internet starten</a:t>
            </a:r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664B4649-207C-3355-14AB-F7DB187A3190}"/>
              </a:ext>
            </a:extLst>
          </p:cNvPr>
          <p:cNvSpPr txBox="1">
            <a:spLocks/>
          </p:cNvSpPr>
          <p:nvPr/>
        </p:nvSpPr>
        <p:spPr>
          <a:xfrm>
            <a:off x="6383338" y="4257455"/>
            <a:ext cx="5400694" cy="2015861"/>
          </a:xfrm>
          <a:prstGeom prst="rect">
            <a:avLst/>
          </a:prstGeom>
        </p:spPr>
        <p:txBody>
          <a:bodyPr vert="horz" lIns="900000" tIns="10800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sz="1800">
                <a:latin typeface="+mj-lt"/>
              </a:rPr>
              <a:t>GDATA</a:t>
            </a:r>
            <a:br>
              <a:rPr lang="de-DE" sz="1400">
                <a:latin typeface="+mn-lt"/>
              </a:rPr>
            </a:br>
            <a:r>
              <a:rPr lang="de-DE" sz="1400">
                <a:latin typeface="+mn-lt"/>
              </a:rPr>
              <a:t>Der umfassende Sofortschutz vor Viren</a:t>
            </a:r>
            <a:br>
              <a:rPr lang="de-DE" sz="1400">
                <a:latin typeface="+mn-lt"/>
              </a:rPr>
            </a:br>
            <a:r>
              <a:rPr lang="de-DE" sz="1400">
                <a:latin typeface="+mn-lt"/>
              </a:rPr>
              <a:t>und allen Gefahren des Internets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C7C47456-F356-69DF-0481-86EF3EF12361}"/>
              </a:ext>
            </a:extLst>
          </p:cNvPr>
          <p:cNvSpPr txBox="1">
            <a:spLocks/>
          </p:cNvSpPr>
          <p:nvPr/>
        </p:nvSpPr>
        <p:spPr>
          <a:xfrm>
            <a:off x="407987" y="4257455"/>
            <a:ext cx="5400694" cy="2015861"/>
          </a:xfrm>
          <a:prstGeom prst="rect">
            <a:avLst/>
          </a:prstGeom>
        </p:spPr>
        <p:txBody>
          <a:bodyPr vert="horz" lIns="900000" tIns="10800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0"/>
              </a:spcAft>
            </a:pPr>
            <a:r>
              <a:rPr lang="de-DE">
                <a:solidFill>
                  <a:schemeClr val="tx1"/>
                </a:solidFill>
              </a:rPr>
              <a:t>Telefonie-Optionen</a:t>
            </a:r>
          </a:p>
          <a:p>
            <a:pPr lvl="1">
              <a:spcAft>
                <a:spcPts val="0"/>
              </a:spcAft>
            </a:pPr>
            <a:r>
              <a:rPr lang="de-DE" sz="1400">
                <a:latin typeface="+mn-lt"/>
              </a:rPr>
              <a:t>Für Ihren Telefonanschluss </a:t>
            </a:r>
          </a:p>
        </p:txBody>
      </p:sp>
      <p:pic>
        <p:nvPicPr>
          <p:cNvPr id="67" name="Grafik 66">
            <a:extLst>
              <a:ext uri="{FF2B5EF4-FFF2-40B4-BE49-F238E27FC236}">
                <a16:creationId xmlns:a16="http://schemas.microsoft.com/office/drawing/2014/main" id="{C0273C5F-4BC8-0F28-4FBD-7EB4B5CE1FC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83338" y="4270370"/>
            <a:ext cx="645340" cy="577416"/>
          </a:xfrm>
          <a:prstGeom prst="rect">
            <a:avLst/>
          </a:prstGeom>
        </p:spPr>
      </p:pic>
      <p:pic>
        <p:nvPicPr>
          <p:cNvPr id="69" name="Grafik 68">
            <a:extLst>
              <a:ext uri="{FF2B5EF4-FFF2-40B4-BE49-F238E27FC236}">
                <a16:creationId xmlns:a16="http://schemas.microsoft.com/office/drawing/2014/main" id="{764A223B-44D7-FFE1-1DFE-C434B96FC7F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10971" y="4274946"/>
            <a:ext cx="585979" cy="585979"/>
          </a:xfrm>
          <a:prstGeom prst="rect">
            <a:avLst/>
          </a:prstGeom>
        </p:spPr>
      </p:pic>
      <p:pic>
        <p:nvPicPr>
          <p:cNvPr id="72" name="Grafik 71">
            <a:extLst>
              <a:ext uri="{FF2B5EF4-FFF2-40B4-BE49-F238E27FC236}">
                <a16:creationId xmlns:a16="http://schemas.microsoft.com/office/drawing/2014/main" id="{74008C2A-B52D-6D01-2319-0DFE8F6C1DF1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383338" y="1904999"/>
            <a:ext cx="708674" cy="576000"/>
          </a:xfrm>
          <a:prstGeom prst="rect">
            <a:avLst/>
          </a:prstGeom>
        </p:spPr>
      </p:pic>
      <p:pic>
        <p:nvPicPr>
          <p:cNvPr id="73" name="Grafik 72">
            <a:extLst>
              <a:ext uri="{FF2B5EF4-FFF2-40B4-BE49-F238E27FC236}">
                <a16:creationId xmlns:a16="http://schemas.microsoft.com/office/drawing/2014/main" id="{FE86F940-9B21-BE8A-D7BE-CF9CB9E0A62D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26478" y="1833236"/>
            <a:ext cx="1979030" cy="577039"/>
          </a:xfrm>
          <a:prstGeom prst="rect">
            <a:avLst/>
          </a:prstGeom>
        </p:spPr>
      </p:pic>
      <p:sp>
        <p:nvSpPr>
          <p:cNvPr id="75" name="Textplatzhalter 2">
            <a:extLst>
              <a:ext uri="{FF2B5EF4-FFF2-40B4-BE49-F238E27FC236}">
                <a16:creationId xmlns:a16="http://schemas.microsoft.com/office/drawing/2014/main" id="{9AD939B2-93A3-133F-A3FB-FBA7420F64D0}"/>
              </a:ext>
            </a:extLst>
          </p:cNvPr>
          <p:cNvSpPr txBox="1">
            <a:spLocks/>
          </p:cNvSpPr>
          <p:nvPr/>
        </p:nvSpPr>
        <p:spPr>
          <a:xfrm>
            <a:off x="1310018" y="3124200"/>
            <a:ext cx="2160000" cy="78854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sz="1400" b="1" err="1"/>
              <a:t>FRITZ!Box</a:t>
            </a:r>
            <a:r>
              <a:rPr lang="de-DE" sz="1400" b="1"/>
              <a:t> 7530 AX</a:t>
            </a:r>
            <a:br>
              <a:rPr lang="de-DE" sz="1400" b="1"/>
            </a:br>
            <a:r>
              <a:rPr lang="de-DE" sz="1400"/>
              <a:t>(Standardrouter) </a:t>
            </a:r>
            <a:br>
              <a:rPr lang="de-DE" sz="1400"/>
            </a:br>
            <a:r>
              <a:rPr lang="de-DE" sz="1800">
                <a:solidFill>
                  <a:schemeClr val="tx2"/>
                </a:solidFill>
                <a:latin typeface="+mj-lt"/>
              </a:rPr>
              <a:t>99,00 €</a:t>
            </a:r>
            <a:br>
              <a:rPr lang="de-DE" sz="1800">
                <a:solidFill>
                  <a:schemeClr val="tx2"/>
                </a:solidFill>
                <a:latin typeface="+mj-lt"/>
              </a:rPr>
            </a:br>
            <a:r>
              <a:rPr lang="de-DE" sz="1400"/>
              <a:t>einmalig</a:t>
            </a:r>
          </a:p>
        </p:txBody>
      </p:sp>
      <p:sp>
        <p:nvSpPr>
          <p:cNvPr id="78" name="Textplatzhalter 2">
            <a:extLst>
              <a:ext uri="{FF2B5EF4-FFF2-40B4-BE49-F238E27FC236}">
                <a16:creationId xmlns:a16="http://schemas.microsoft.com/office/drawing/2014/main" id="{15C0EACF-D2F4-D0AA-5270-A37F7886C85D}"/>
              </a:ext>
            </a:extLst>
          </p:cNvPr>
          <p:cNvSpPr txBox="1">
            <a:spLocks/>
          </p:cNvSpPr>
          <p:nvPr/>
        </p:nvSpPr>
        <p:spPr>
          <a:xfrm>
            <a:off x="3638347" y="3124200"/>
            <a:ext cx="2160000" cy="78854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sz="1400" b="1" err="1"/>
              <a:t>FRITZ!Box</a:t>
            </a:r>
            <a:r>
              <a:rPr lang="de-DE" sz="1400" b="1"/>
              <a:t> 7590 AX v2.0</a:t>
            </a:r>
            <a:br>
              <a:rPr lang="de-DE" sz="1400"/>
            </a:br>
            <a:r>
              <a:rPr lang="de-DE" sz="1400"/>
              <a:t>(Premiumrouter) </a:t>
            </a:r>
            <a:br>
              <a:rPr lang="de-DE" sz="1400"/>
            </a:br>
            <a:r>
              <a:rPr lang="de-DE" sz="1800">
                <a:solidFill>
                  <a:schemeClr val="tx2"/>
                </a:solidFill>
                <a:latin typeface="+mj-lt"/>
              </a:rPr>
              <a:t>169,00 €</a:t>
            </a:r>
            <a:br>
              <a:rPr lang="de-DE" sz="1800">
                <a:solidFill>
                  <a:schemeClr val="tx2"/>
                </a:solidFill>
                <a:latin typeface="+mj-lt"/>
              </a:rPr>
            </a:br>
            <a:r>
              <a:rPr lang="de-DE" sz="1400"/>
              <a:t>einmalig </a:t>
            </a:r>
          </a:p>
        </p:txBody>
      </p:sp>
      <p:sp>
        <p:nvSpPr>
          <p:cNvPr id="81" name="Textplatzhalter 2">
            <a:extLst>
              <a:ext uri="{FF2B5EF4-FFF2-40B4-BE49-F238E27FC236}">
                <a16:creationId xmlns:a16="http://schemas.microsoft.com/office/drawing/2014/main" id="{E01A2E92-A68A-F20E-AF74-C650A62651F4}"/>
              </a:ext>
            </a:extLst>
          </p:cNvPr>
          <p:cNvSpPr txBox="1">
            <a:spLocks/>
          </p:cNvSpPr>
          <p:nvPr/>
        </p:nvSpPr>
        <p:spPr>
          <a:xfrm>
            <a:off x="7296303" y="3124200"/>
            <a:ext cx="2160000" cy="78854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sz="1400" b="1" dirty="0"/>
              <a:t>Comfort</a:t>
            </a:r>
            <a:br>
              <a:rPr lang="de-DE" sz="1400" b="1" dirty="0"/>
            </a:br>
            <a:r>
              <a:rPr lang="de-DE" sz="1800" b="1" dirty="0">
                <a:solidFill>
                  <a:schemeClr val="tx2"/>
                </a:solidFill>
                <a:latin typeface="+mj-lt"/>
              </a:rPr>
              <a:t>7</a:t>
            </a:r>
            <a:r>
              <a:rPr lang="de-DE" sz="1800" dirty="0">
                <a:solidFill>
                  <a:schemeClr val="tx2"/>
                </a:solidFill>
                <a:latin typeface="+mj-lt"/>
              </a:rPr>
              <a:t>,90 €</a:t>
            </a:r>
            <a:br>
              <a:rPr lang="de-DE" sz="1800" dirty="0">
                <a:solidFill>
                  <a:schemeClr val="tx2"/>
                </a:solidFill>
                <a:latin typeface="+mj-lt"/>
              </a:rPr>
            </a:br>
            <a:r>
              <a:rPr lang="de-DE" sz="1400" dirty="0"/>
              <a:t>monatlich</a:t>
            </a:r>
          </a:p>
        </p:txBody>
      </p:sp>
      <p:sp>
        <p:nvSpPr>
          <p:cNvPr id="82" name="Textplatzhalter 2">
            <a:extLst>
              <a:ext uri="{FF2B5EF4-FFF2-40B4-BE49-F238E27FC236}">
                <a16:creationId xmlns:a16="http://schemas.microsoft.com/office/drawing/2014/main" id="{B0FF5B31-536A-FD00-AF97-730529AB5860}"/>
              </a:ext>
            </a:extLst>
          </p:cNvPr>
          <p:cNvSpPr txBox="1">
            <a:spLocks/>
          </p:cNvSpPr>
          <p:nvPr/>
        </p:nvSpPr>
        <p:spPr>
          <a:xfrm>
            <a:off x="9624632" y="3124200"/>
            <a:ext cx="2160000" cy="78854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sz="1400" b="1" dirty="0" err="1"/>
              <a:t>Perfect</a:t>
            </a:r>
            <a:r>
              <a:rPr lang="de-DE" sz="1400" dirty="0"/>
              <a:t> </a:t>
            </a:r>
            <a:r>
              <a:rPr lang="de-DE" sz="1400" b="1" dirty="0"/>
              <a:t>Plus</a:t>
            </a:r>
          </a:p>
          <a:p>
            <a:pPr lvl="1">
              <a:spcAft>
                <a:spcPts val="0"/>
              </a:spcAft>
            </a:pPr>
            <a:r>
              <a:rPr lang="de-DE" sz="1800" dirty="0">
                <a:solidFill>
                  <a:schemeClr val="tx2"/>
                </a:solidFill>
                <a:latin typeface="+mj-lt"/>
              </a:rPr>
              <a:t>11,90 €</a:t>
            </a:r>
            <a:br>
              <a:rPr lang="de-DE" sz="1800" dirty="0">
                <a:solidFill>
                  <a:schemeClr val="tx2"/>
                </a:solidFill>
                <a:latin typeface="+mj-lt"/>
              </a:rPr>
            </a:br>
            <a:r>
              <a:rPr lang="de-DE" sz="1400" dirty="0"/>
              <a:t>monatlich</a:t>
            </a:r>
          </a:p>
        </p:txBody>
      </p:sp>
      <p:sp>
        <p:nvSpPr>
          <p:cNvPr id="87" name="Textplatzhalter 2">
            <a:extLst>
              <a:ext uri="{FF2B5EF4-FFF2-40B4-BE49-F238E27FC236}">
                <a16:creationId xmlns:a16="http://schemas.microsoft.com/office/drawing/2014/main" id="{82B59DC8-808D-C7FE-9C05-2CC5F67843B5}"/>
              </a:ext>
            </a:extLst>
          </p:cNvPr>
          <p:cNvSpPr txBox="1">
            <a:spLocks/>
          </p:cNvSpPr>
          <p:nvPr/>
        </p:nvSpPr>
        <p:spPr>
          <a:xfrm>
            <a:off x="1310018" y="5304755"/>
            <a:ext cx="2160000" cy="788541"/>
          </a:xfrm>
          <a:prstGeom prst="rect">
            <a:avLst/>
          </a:prstGeom>
        </p:spPr>
        <p:txBody>
          <a:bodyPr vert="horz" lIns="36000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sz="1400"/>
              <a:t>Minutenpakete Mobilfunk und Europa von 60-240 Minuten</a:t>
            </a:r>
          </a:p>
        </p:txBody>
      </p:sp>
      <p:sp>
        <p:nvSpPr>
          <p:cNvPr id="88" name="Textplatzhalter 2">
            <a:extLst>
              <a:ext uri="{FF2B5EF4-FFF2-40B4-BE49-F238E27FC236}">
                <a16:creationId xmlns:a16="http://schemas.microsoft.com/office/drawing/2014/main" id="{843DBB08-6F05-178F-49AE-72417F15C81C}"/>
              </a:ext>
            </a:extLst>
          </p:cNvPr>
          <p:cNvSpPr txBox="1">
            <a:spLocks/>
          </p:cNvSpPr>
          <p:nvPr/>
        </p:nvSpPr>
        <p:spPr>
          <a:xfrm>
            <a:off x="3638347" y="5304755"/>
            <a:ext cx="2160000" cy="788541"/>
          </a:xfrm>
          <a:prstGeom prst="rect">
            <a:avLst/>
          </a:prstGeom>
        </p:spPr>
        <p:txBody>
          <a:bodyPr vert="horz" lIns="36000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sz="1400"/>
              <a:t>3. und 4. Rufnummer</a:t>
            </a:r>
            <a:br>
              <a:rPr lang="de-DE" sz="1400"/>
            </a:br>
            <a:r>
              <a:rPr lang="de-DE" sz="1400"/>
              <a:t>optional möglich</a:t>
            </a:r>
          </a:p>
        </p:txBody>
      </p:sp>
      <p:sp>
        <p:nvSpPr>
          <p:cNvPr id="90" name="Textplatzhalter 2">
            <a:extLst>
              <a:ext uri="{FF2B5EF4-FFF2-40B4-BE49-F238E27FC236}">
                <a16:creationId xmlns:a16="http://schemas.microsoft.com/office/drawing/2014/main" id="{044E0460-1F84-797E-9492-607431C8CBFF}"/>
              </a:ext>
            </a:extLst>
          </p:cNvPr>
          <p:cNvSpPr txBox="1">
            <a:spLocks/>
          </p:cNvSpPr>
          <p:nvPr/>
        </p:nvSpPr>
        <p:spPr>
          <a:xfrm>
            <a:off x="7296303" y="5304755"/>
            <a:ext cx="1044000" cy="78854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sz="1400" b="1"/>
              <a:t>1 PC</a:t>
            </a:r>
            <a:br>
              <a:rPr lang="de-DE" sz="1400"/>
            </a:br>
            <a:r>
              <a:rPr lang="de-DE" sz="1400"/>
              <a:t>Einzellizenz</a:t>
            </a:r>
            <a:br>
              <a:rPr lang="de-DE" sz="1400" b="1"/>
            </a:br>
            <a:r>
              <a:rPr lang="de-DE" sz="1800">
                <a:solidFill>
                  <a:schemeClr val="tx2"/>
                </a:solidFill>
                <a:latin typeface="+mj-lt"/>
              </a:rPr>
              <a:t>2,90 €</a:t>
            </a:r>
            <a:br>
              <a:rPr lang="de-DE" sz="1800" b="1">
                <a:solidFill>
                  <a:schemeClr val="tx2"/>
                </a:solidFill>
              </a:rPr>
            </a:br>
            <a:r>
              <a:rPr lang="de-DE" sz="1400"/>
              <a:t>monatlich</a:t>
            </a:r>
          </a:p>
        </p:txBody>
      </p:sp>
      <p:sp>
        <p:nvSpPr>
          <p:cNvPr id="91" name="Textplatzhalter 2">
            <a:extLst>
              <a:ext uri="{FF2B5EF4-FFF2-40B4-BE49-F238E27FC236}">
                <a16:creationId xmlns:a16="http://schemas.microsoft.com/office/drawing/2014/main" id="{1C59A63F-12E4-BA61-330F-25C40AF0B342}"/>
              </a:ext>
            </a:extLst>
          </p:cNvPr>
          <p:cNvSpPr txBox="1">
            <a:spLocks/>
          </p:cNvSpPr>
          <p:nvPr/>
        </p:nvSpPr>
        <p:spPr>
          <a:xfrm>
            <a:off x="9011076" y="5304755"/>
            <a:ext cx="1044000" cy="78854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sz="1400" b="1"/>
              <a:t>3 PC</a:t>
            </a:r>
            <a:br>
              <a:rPr lang="de-DE" sz="1400" b="1"/>
            </a:br>
            <a:r>
              <a:rPr lang="de-DE" sz="1400"/>
              <a:t>Dreierlizenz</a:t>
            </a:r>
          </a:p>
          <a:p>
            <a:pPr lvl="1">
              <a:spcAft>
                <a:spcPts val="0"/>
              </a:spcAft>
            </a:pPr>
            <a:r>
              <a:rPr lang="de-DE" sz="1800">
                <a:solidFill>
                  <a:schemeClr val="tx2"/>
                </a:solidFill>
                <a:latin typeface="+mj-lt"/>
              </a:rPr>
              <a:t>3,90 €</a:t>
            </a:r>
            <a:br>
              <a:rPr lang="de-DE" sz="1400" b="1">
                <a:solidFill>
                  <a:schemeClr val="tx2"/>
                </a:solidFill>
              </a:rPr>
            </a:br>
            <a:r>
              <a:rPr lang="de-DE" sz="1400"/>
              <a:t>monatlich</a:t>
            </a:r>
          </a:p>
        </p:txBody>
      </p:sp>
      <p:pic>
        <p:nvPicPr>
          <p:cNvPr id="92" name="Grafik 91">
            <a:extLst>
              <a:ext uri="{FF2B5EF4-FFF2-40B4-BE49-F238E27FC236}">
                <a16:creationId xmlns:a16="http://schemas.microsoft.com/office/drawing/2014/main" id="{8867C1C2-BE23-FA82-C8AB-56889D75A59D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 bwMode="gray">
          <a:xfrm>
            <a:off x="1244301" y="5262185"/>
            <a:ext cx="375830" cy="375830"/>
          </a:xfrm>
          <a:prstGeom prst="rect">
            <a:avLst/>
          </a:prstGeom>
        </p:spPr>
      </p:pic>
      <p:pic>
        <p:nvPicPr>
          <p:cNvPr id="93" name="Grafik 92">
            <a:extLst>
              <a:ext uri="{FF2B5EF4-FFF2-40B4-BE49-F238E27FC236}">
                <a16:creationId xmlns:a16="http://schemas.microsoft.com/office/drawing/2014/main" id="{0E6224A0-401A-98D2-5D11-E66731CA879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 bwMode="gray">
          <a:xfrm>
            <a:off x="3568401" y="5262185"/>
            <a:ext cx="375830" cy="375830"/>
          </a:xfrm>
          <a:prstGeom prst="rect">
            <a:avLst/>
          </a:prstGeom>
        </p:spPr>
      </p:pic>
      <p:sp>
        <p:nvSpPr>
          <p:cNvPr id="97" name="Textplatzhalter 2">
            <a:extLst>
              <a:ext uri="{FF2B5EF4-FFF2-40B4-BE49-F238E27FC236}">
                <a16:creationId xmlns:a16="http://schemas.microsoft.com/office/drawing/2014/main" id="{321607B4-E87F-1E4F-2F63-BB7A69071DBD}"/>
              </a:ext>
            </a:extLst>
          </p:cNvPr>
          <p:cNvSpPr txBox="1">
            <a:spLocks/>
          </p:cNvSpPr>
          <p:nvPr/>
        </p:nvSpPr>
        <p:spPr>
          <a:xfrm>
            <a:off x="10725850" y="5304755"/>
            <a:ext cx="1044000" cy="78854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Aft>
                <a:spcPts val="0"/>
              </a:spcAft>
            </a:pPr>
            <a:r>
              <a:rPr lang="de-DE" sz="1400" b="1"/>
              <a:t>5 PC</a:t>
            </a:r>
            <a:br>
              <a:rPr lang="de-DE" sz="1400" b="1"/>
            </a:br>
            <a:r>
              <a:rPr lang="de-DE" sz="1400"/>
              <a:t>Fünferlizenz</a:t>
            </a:r>
            <a:br>
              <a:rPr lang="de-DE" sz="1400"/>
            </a:br>
            <a:r>
              <a:rPr lang="de-DE" sz="1800">
                <a:solidFill>
                  <a:schemeClr val="tx2"/>
                </a:solidFill>
                <a:latin typeface="+mj-lt"/>
              </a:rPr>
              <a:t>4,90 € </a:t>
            </a:r>
            <a:br>
              <a:rPr lang="de-DE" sz="1400" b="1">
                <a:solidFill>
                  <a:schemeClr val="tx2"/>
                </a:solidFill>
              </a:rPr>
            </a:br>
            <a:r>
              <a:rPr lang="de-DE" sz="1400"/>
              <a:t>monatlich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49475B0A-1368-4132-6A6F-35C87E1DA5FE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07988" y="1844675"/>
            <a:ext cx="735012" cy="735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8371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BD78293D-D7ED-829F-380D-4727E66397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38" imgH="340" progId="TCLayout.ActiveDocument.1">
                  <p:embed/>
                </p:oleObj>
              </mc:Choice>
              <mc:Fallback>
                <p:oleObj name="think-cell Folie" r:id="rId4" imgW="338" imgH="340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78293D-D7ED-829F-380D-4727E66397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Grafik 11" descr="Ein Bild, das Elektronik, Elektronisches Gerät, Fernbedienung, Gerät enthält.&#10;&#10;Automatisch generierte Beschreibung">
            <a:extLst>
              <a:ext uri="{FF2B5EF4-FFF2-40B4-BE49-F238E27FC236}">
                <a16:creationId xmlns:a16="http://schemas.microsoft.com/office/drawing/2014/main" id="{627D8AB8-054D-83FF-9128-9EBD24FCA2B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8335" y="3168966"/>
            <a:ext cx="3293665" cy="1853131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96079435-3C57-66B9-0461-E7B6D62DE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96863"/>
            <a:ext cx="8784357" cy="503845"/>
          </a:xfrm>
        </p:spPr>
        <p:txBody>
          <a:bodyPr vert="horz"/>
          <a:lstStyle/>
          <a:p>
            <a:r>
              <a:rPr lang="de-DE"/>
              <a:t>IPTV – Unsere vollwertige Lösung</a:t>
            </a:r>
            <a:br>
              <a:rPr lang="de-DE"/>
            </a:br>
            <a:r>
              <a:rPr lang="de-DE"/>
              <a:t>für Fernsehen in HD-Qualität</a:t>
            </a:r>
            <a:br>
              <a:rPr lang="de-DE"/>
            </a:br>
            <a:endParaRPr lang="de-DE"/>
          </a:p>
        </p:txBody>
      </p:sp>
      <p:graphicFrame>
        <p:nvGraphicFramePr>
          <p:cNvPr id="2" name="Inhaltsplatzhalter 1">
            <a:extLst>
              <a:ext uri="{FF2B5EF4-FFF2-40B4-BE49-F238E27FC236}">
                <a16:creationId xmlns:a16="http://schemas.microsoft.com/office/drawing/2014/main" id="{777C568E-06E5-2935-F86F-F20BBC4D9F67}"/>
              </a:ext>
            </a:extLst>
          </p:cNvPr>
          <p:cNvGraphicFramePr>
            <a:graphicFrameLocks noGrp="1"/>
          </p:cNvGraphicFramePr>
          <p:nvPr>
            <p:ph sz="half" idx="1"/>
          </p:nvPr>
        </p:nvGraphicFramePr>
        <p:xfrm>
          <a:off x="407987" y="1820807"/>
          <a:ext cx="6817049" cy="34655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65049">
                  <a:extLst>
                    <a:ext uri="{9D8B030D-6E8A-4147-A177-3AD203B41FA5}">
                      <a16:colId xmlns:a16="http://schemas.microsoft.com/office/drawing/2014/main" val="1605778460"/>
                    </a:ext>
                  </a:extLst>
                </a:gridCol>
                <a:gridCol w="216000">
                  <a:extLst>
                    <a:ext uri="{9D8B030D-6E8A-4147-A177-3AD203B41FA5}">
                      <a16:colId xmlns:a16="http://schemas.microsoft.com/office/drawing/2014/main" val="158023585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3553708777"/>
                    </a:ext>
                  </a:extLst>
                </a:gridCol>
                <a:gridCol w="216000">
                  <a:extLst>
                    <a:ext uri="{9D8B030D-6E8A-4147-A177-3AD203B41FA5}">
                      <a16:colId xmlns:a16="http://schemas.microsoft.com/office/drawing/2014/main" val="3595360100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2226703121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2400" kern="1200" dirty="0">
                          <a:solidFill>
                            <a:schemeClr val="tx2"/>
                          </a:solidFill>
                          <a:latin typeface="+mj-lt"/>
                          <a:ea typeface="DIN-Regular" panose="020B0500010101010101" pitchFamily="34" charset="0"/>
                          <a:cs typeface="EnBW DIN Pro Medium" panose="020B0604020101020102" pitchFamily="34" charset="0"/>
                        </a:rPr>
                        <a:t>Comfort</a:t>
                      </a:r>
                    </a:p>
                  </a:txBody>
                  <a:tcPr marL="5443" marR="5443" marT="54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2400" kern="1200" dirty="0">
                        <a:solidFill>
                          <a:schemeClr val="tx2"/>
                        </a:solidFill>
                        <a:latin typeface="+mj-lt"/>
                        <a:ea typeface="DIN-Regular" panose="020B0500010101010101" pitchFamily="34" charset="0"/>
                        <a:cs typeface="EnBW DIN Pro Medium" panose="020B0604020101020102" pitchFamily="34" charset="0"/>
                      </a:endParaRPr>
                    </a:p>
                  </a:txBody>
                  <a:tcPr marL="5443" marR="5443" marT="54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2400" kern="1200" dirty="0" err="1">
                          <a:solidFill>
                            <a:schemeClr val="tx2"/>
                          </a:solidFill>
                          <a:latin typeface="+mj-lt"/>
                          <a:ea typeface="DIN-Regular" panose="020B0500010101010101" pitchFamily="34" charset="0"/>
                          <a:cs typeface="EnBW DIN Pro Medium" panose="020B0604020101020102" pitchFamily="34" charset="0"/>
                        </a:rPr>
                        <a:t>Perfect</a:t>
                      </a:r>
                      <a:r>
                        <a:rPr lang="de-DE" sz="2400" kern="1200" dirty="0">
                          <a:solidFill>
                            <a:schemeClr val="tx2"/>
                          </a:solidFill>
                          <a:latin typeface="+mj-lt"/>
                          <a:ea typeface="DIN-Regular" panose="020B0500010101010101" pitchFamily="34" charset="0"/>
                          <a:cs typeface="EnBW DIN Pro Medium" panose="020B0604020101020102" pitchFamily="34" charset="0"/>
                        </a:rPr>
                        <a:t> Plus</a:t>
                      </a:r>
                    </a:p>
                  </a:txBody>
                  <a:tcPr marL="5443" marR="5443" marT="5443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9135397"/>
                  </a:ext>
                </a:extLst>
              </a:tr>
              <a:tr h="371652"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EnBW DIN Pro"/>
                        </a:rPr>
                        <a:t>Sender</a:t>
                      </a:r>
                    </a:p>
                  </a:txBody>
                  <a:tcPr marL="5443" marR="5443" marT="5443" marB="0" anchor="ctr">
                    <a:lnB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cs typeface="EnBW DIN Pro"/>
                      </a:endParaRPr>
                    </a:p>
                  </a:txBody>
                  <a:tcPr marL="5443" marR="5443" marT="54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190</a:t>
                      </a:r>
                    </a:p>
                  </a:txBody>
                  <a:tcPr marL="5443" marR="5443" marT="5443" marB="0" anchor="ctr">
                    <a:lnB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EnBW DIN Pro"/>
                      </a:endParaRPr>
                    </a:p>
                  </a:txBody>
                  <a:tcPr marL="5443" marR="5443" marT="54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252</a:t>
                      </a:r>
                    </a:p>
                  </a:txBody>
                  <a:tcPr marL="5443" marR="5443" marT="5443" marB="0" anchor="ctr">
                    <a:lnB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3096830"/>
                  </a:ext>
                </a:extLst>
              </a:tr>
              <a:tr h="371652"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Davon in HD</a:t>
                      </a:r>
                    </a:p>
                  </a:txBody>
                  <a:tcPr marL="5443" marR="5443" marT="5443" marB="0" anchor="ctr">
                    <a:lnT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EnBW DIN Pro"/>
                      </a:endParaRPr>
                    </a:p>
                  </a:txBody>
                  <a:tcPr marL="5443" marR="5443" marT="54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155</a:t>
                      </a:r>
                    </a:p>
                  </a:txBody>
                  <a:tcPr marL="5443" marR="5443" marT="5443" marB="0" anchor="ctr">
                    <a:lnT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EnBW DIN Pro"/>
                      </a:endParaRPr>
                    </a:p>
                  </a:txBody>
                  <a:tcPr marL="5443" marR="5443" marT="54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240 </a:t>
                      </a:r>
                      <a:r>
                        <a:rPr lang="it-IT" sz="14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inkl</a:t>
                      </a:r>
                      <a:r>
                        <a:rPr lang="it-IT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. RTL, Pro7 in HD</a:t>
                      </a:r>
                    </a:p>
                  </a:txBody>
                  <a:tcPr marL="5443" marR="5443" marT="5443" marB="0" anchor="ctr">
                    <a:lnT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92838242"/>
                  </a:ext>
                </a:extLst>
              </a:tr>
              <a:tr h="371652"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Pay-TV</a:t>
                      </a:r>
                    </a:p>
                  </a:txBody>
                  <a:tcPr marL="5443" marR="5443" marT="5443" marB="0" anchor="ctr">
                    <a:lnT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EnBW DIN Pro"/>
                      </a:endParaRPr>
                    </a:p>
                  </a:txBody>
                  <a:tcPr marL="5443" marR="5443" marT="54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0</a:t>
                      </a:r>
                      <a:r>
                        <a:rPr lang="de-DE" sz="1100" u="none" strike="noStrike" dirty="0">
                          <a:effectLst/>
                        </a:rPr>
                        <a:t> </a:t>
                      </a:r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Sender</a:t>
                      </a:r>
                    </a:p>
                  </a:txBody>
                  <a:tcPr marL="5443" marR="5443" marT="5443" marB="0" anchor="ctr">
                    <a:lnT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EnBW DIN Pro"/>
                      </a:endParaRPr>
                    </a:p>
                  </a:txBody>
                  <a:tcPr marL="5443" marR="5443" marT="54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62 Sender</a:t>
                      </a:r>
                    </a:p>
                  </a:txBody>
                  <a:tcPr marL="5443" marR="5443" marT="5443" marB="0" anchor="ctr">
                    <a:lnT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681248"/>
                  </a:ext>
                </a:extLst>
              </a:tr>
              <a:tr h="371652"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Waiputhek</a:t>
                      </a:r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EnBW DIN Pro"/>
                      </a:endParaRPr>
                    </a:p>
                  </a:txBody>
                  <a:tcPr marL="5443" marR="5443" marT="5443" marB="0" anchor="ctr">
                    <a:lnT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EnBW DIN Pro"/>
                      </a:endParaRPr>
                    </a:p>
                  </a:txBody>
                  <a:tcPr marL="5443" marR="5443" marT="54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20.000 Filme und Serien</a:t>
                      </a:r>
                    </a:p>
                  </a:txBody>
                  <a:tcPr marL="5443" marR="5443" marT="5443" marB="0" anchor="ctr">
                    <a:lnT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EnBW DIN Pro"/>
                      </a:endParaRPr>
                    </a:p>
                  </a:txBody>
                  <a:tcPr marL="5443" marR="5443" marT="54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30.000 Filme und Serien</a:t>
                      </a:r>
                    </a:p>
                  </a:txBody>
                  <a:tcPr marL="5443" marR="5443" marT="5443" marB="0" anchor="ctr">
                    <a:lnT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9577059"/>
                  </a:ext>
                </a:extLst>
              </a:tr>
              <a:tr h="371652"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Aufnahmen (in Std.)</a:t>
                      </a:r>
                      <a:r>
                        <a:rPr lang="de-DE" sz="1400" b="0" kern="1200" baseline="30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2</a:t>
                      </a:r>
                    </a:p>
                  </a:txBody>
                  <a:tcPr marL="5443" marR="5443" marT="5443" marB="0" anchor="ctr">
                    <a:lnT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400" b="0" kern="1200" baseline="300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EnBW DIN Pro"/>
                      </a:endParaRPr>
                    </a:p>
                  </a:txBody>
                  <a:tcPr marL="5443" marR="5443" marT="54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50</a:t>
                      </a:r>
                    </a:p>
                  </a:txBody>
                  <a:tcPr marL="5443" marR="5443" marT="5443" marB="0" anchor="ctr">
                    <a:lnT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EnBW DIN Pro"/>
                      </a:endParaRPr>
                    </a:p>
                  </a:txBody>
                  <a:tcPr marL="5443" marR="5443" marT="54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300</a:t>
                      </a:r>
                    </a:p>
                  </a:txBody>
                  <a:tcPr marL="5443" marR="5443" marT="5443" marB="0" anchor="ctr">
                    <a:lnT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0275723"/>
                  </a:ext>
                </a:extLst>
              </a:tr>
              <a:tr h="371652"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Streams</a:t>
                      </a:r>
                    </a:p>
                  </a:txBody>
                  <a:tcPr marL="5443" marR="5443" marT="5443" marB="0" anchor="ctr">
                    <a:lnT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EnBW DIN Pro"/>
                      </a:endParaRPr>
                    </a:p>
                  </a:txBody>
                  <a:tcPr marL="5443" marR="5443" marT="54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2</a:t>
                      </a:r>
                    </a:p>
                  </a:txBody>
                  <a:tcPr marL="5443" marR="5443" marT="5443" marB="0" anchor="ctr">
                    <a:lnT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EnBW DIN Pro"/>
                      </a:endParaRPr>
                    </a:p>
                  </a:txBody>
                  <a:tcPr marL="5443" marR="5443" marT="54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4</a:t>
                      </a:r>
                    </a:p>
                  </a:txBody>
                  <a:tcPr marL="5443" marR="5443" marT="5443" marB="0" anchor="ctr">
                    <a:lnT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7053410"/>
                  </a:ext>
                </a:extLst>
              </a:tr>
              <a:tr h="371652"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Pause &amp; Restart</a:t>
                      </a:r>
                      <a:r>
                        <a:rPr lang="de-DE" sz="1400" b="0" kern="1200" baseline="30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2</a:t>
                      </a:r>
                    </a:p>
                  </a:txBody>
                  <a:tcPr marL="5443" marR="5443" marT="5443" marB="0" anchor="ctr">
                    <a:lnT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400" b="0" kern="1200" baseline="300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EnBW DIN Pro"/>
                      </a:endParaRPr>
                    </a:p>
                  </a:txBody>
                  <a:tcPr marL="5443" marR="5443" marT="54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inklusive</a:t>
                      </a:r>
                    </a:p>
                  </a:txBody>
                  <a:tcPr marL="5443" marR="5443" marT="5443" marB="0" anchor="ctr">
                    <a:lnT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EnBW DIN Pro"/>
                      </a:endParaRPr>
                    </a:p>
                  </a:txBody>
                  <a:tcPr marL="5443" marR="5443" marT="54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4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inklusive</a:t>
                      </a:r>
                    </a:p>
                  </a:txBody>
                  <a:tcPr marL="5443" marR="5443" marT="5443" marB="0" anchor="ctr">
                    <a:lnT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417915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de-DE" sz="1800" kern="1200" dirty="0">
                          <a:solidFill>
                            <a:schemeClr val="tx2"/>
                          </a:solidFill>
                          <a:latin typeface="+mj-lt"/>
                          <a:ea typeface="DIN-Regular" panose="020B0500010101010101" pitchFamily="34" charset="0"/>
                          <a:cs typeface="EnBW DIN Pro Medium" panose="020B0604020101020102" pitchFamily="34" charset="0"/>
                        </a:rPr>
                        <a:t>Preis monatlich</a:t>
                      </a:r>
                      <a:r>
                        <a:rPr lang="de-DE" sz="1800" kern="1200" baseline="30000" dirty="0">
                          <a:solidFill>
                            <a:schemeClr val="tx2"/>
                          </a:solidFill>
                          <a:latin typeface="+mj-lt"/>
                          <a:ea typeface="DIN-Regular" panose="020B0500010101010101" pitchFamily="34" charset="0"/>
                          <a:cs typeface="EnBW DIN Pro Medium" panose="020B0604020101020102" pitchFamily="34" charset="0"/>
                        </a:rPr>
                        <a:t>1</a:t>
                      </a:r>
                    </a:p>
                  </a:txBody>
                  <a:tcPr marL="5443" marR="5443" marT="5443" marB="0" anchor="ctr">
                    <a:lnT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de-DE" sz="1800" kern="1200" baseline="30000" dirty="0">
                        <a:solidFill>
                          <a:schemeClr val="tx2"/>
                        </a:solidFill>
                        <a:latin typeface="+mj-lt"/>
                        <a:ea typeface="DIN-Regular" panose="020B0500010101010101" pitchFamily="34" charset="0"/>
                        <a:cs typeface="EnBW DIN Pro Medium" panose="020B0604020101020102" pitchFamily="34" charset="0"/>
                      </a:endParaRPr>
                    </a:p>
                  </a:txBody>
                  <a:tcPr marL="5443" marR="5443" marT="54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kern="1200" dirty="0">
                          <a:solidFill>
                            <a:schemeClr val="tx2"/>
                          </a:solidFill>
                          <a:latin typeface="+mj-lt"/>
                          <a:ea typeface="DIN-Regular" panose="020B0500010101010101" pitchFamily="34" charset="0"/>
                          <a:cs typeface="EnBW DIN Pro Medium" panose="020B0604020101020102" pitchFamily="34" charset="0"/>
                        </a:rPr>
                        <a:t>7,90 €</a:t>
                      </a:r>
                    </a:p>
                  </a:txBody>
                  <a:tcPr marL="5443" marR="5443" marT="5443" marB="0" anchor="ctr">
                    <a:lnT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1800" kern="1200" dirty="0">
                        <a:solidFill>
                          <a:schemeClr val="tx2"/>
                        </a:solidFill>
                        <a:latin typeface="+mj-lt"/>
                        <a:ea typeface="DIN-Regular" panose="020B0500010101010101" pitchFamily="34" charset="0"/>
                        <a:cs typeface="EnBW DIN Pro Medium" panose="020B0604020101020102" pitchFamily="34" charset="0"/>
                      </a:endParaRPr>
                    </a:p>
                  </a:txBody>
                  <a:tcPr marL="5443" marR="5443" marT="5443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de-DE" sz="1800" kern="1200" dirty="0">
                          <a:solidFill>
                            <a:schemeClr val="tx2"/>
                          </a:solidFill>
                          <a:latin typeface="+mj-lt"/>
                          <a:ea typeface="DIN-Regular" panose="020B0500010101010101" pitchFamily="34" charset="0"/>
                          <a:cs typeface="EnBW DIN Pro Medium" panose="020B0604020101020102" pitchFamily="34" charset="0"/>
                        </a:rPr>
                        <a:t>11,90 €</a:t>
                      </a:r>
                    </a:p>
                  </a:txBody>
                  <a:tcPr marL="5443" marR="5443" marT="5443" marB="0" anchor="ctr">
                    <a:lnT w="12700" cap="flat" cmpd="sng" algn="ctr">
                      <a:solidFill>
                        <a:srgbClr val="C3BCB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2037315"/>
                  </a:ext>
                </a:extLst>
              </a:tr>
            </a:tbl>
          </a:graphicData>
        </a:graphic>
      </p:graphicFrame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7B091C3C-6134-70D4-9B33-2FF1962648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7" y="6543420"/>
            <a:ext cx="10044113" cy="143869"/>
          </a:xfrm>
        </p:spPr>
        <p:txBody>
          <a:bodyPr/>
          <a:lstStyle/>
          <a:p>
            <a:r>
              <a:rPr lang="de-DE" dirty="0"/>
              <a:t>Bereit fürs Glasfaserland? | März 2024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A4706ED-7F78-B372-53A4-B8222D3930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fld id="{0BBFC357-94BC-44C8-B600-C5D15BBAA3CF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31BBCBF9-F478-BDB5-1126-4DFFCEB3F5E5}"/>
              </a:ext>
            </a:extLst>
          </p:cNvPr>
          <p:cNvSpPr txBox="1"/>
          <p:nvPr/>
        </p:nvSpPr>
        <p:spPr bwMode="gray">
          <a:xfrm>
            <a:off x="407988" y="6285600"/>
            <a:ext cx="11376000" cy="179536"/>
          </a:xfrm>
          <a:prstGeom prst="rect">
            <a:avLst/>
          </a:prstGeom>
          <a:noFill/>
        </p:spPr>
        <p:txBody>
          <a:bodyPr wrap="square" lIns="0" tIns="36000" rIns="0" bIns="0" anchor="b" anchorCtr="0">
            <a:noAutofit/>
          </a:bodyPr>
          <a:lstStyle/>
          <a:p>
            <a:r>
              <a:rPr lang="de-DE" sz="1000" spc="10" dirty="0">
                <a:cs typeface="EnBW DIN Pro"/>
              </a:rPr>
              <a:t>waipu.tv ist ein Service der </a:t>
            </a:r>
            <a:r>
              <a:rPr lang="de-DE" sz="1000" spc="10" dirty="0" err="1">
                <a:cs typeface="EnBW DIN Pro"/>
              </a:rPr>
              <a:t>Exaring</a:t>
            </a:r>
            <a:r>
              <a:rPr lang="de-DE" sz="1000" spc="10" dirty="0">
                <a:cs typeface="EnBW DIN Pro"/>
              </a:rPr>
              <a:t> AG (Leopoldstr. 236, 80807 München). Es gelten die Allgemeinen Geschäftsbedingungen, Datenschutzhinweise und Angebotsbeschreibungen der </a:t>
            </a:r>
            <a:r>
              <a:rPr lang="de-DE" sz="1000" spc="10" dirty="0" err="1">
                <a:cs typeface="EnBW DIN Pro"/>
              </a:rPr>
              <a:t>Exaring</a:t>
            </a:r>
            <a:r>
              <a:rPr lang="de-DE" sz="1000" spc="10" dirty="0">
                <a:cs typeface="EnBW DIN Pro"/>
              </a:rPr>
              <a:t> AG.</a:t>
            </a:r>
            <a:br>
              <a:rPr lang="de-DE" sz="1000" spc="10" dirty="0">
                <a:cs typeface="EnBW DIN Pro"/>
              </a:rPr>
            </a:br>
            <a:r>
              <a:rPr lang="de-DE" sz="1000" spc="10" baseline="30000" dirty="0">
                <a:cs typeface="EnBW DIN Pro"/>
              </a:rPr>
              <a:t>1</a:t>
            </a:r>
            <a:r>
              <a:rPr lang="de-DE" sz="1000" spc="10" dirty="0">
                <a:cs typeface="EnBW DIN Pro"/>
              </a:rPr>
              <a:t> Mindestlaufzeit: 12 Monate, automatische Verlängerung um 1 Monat, Kündigungsfrist: 4 Wochen zum Laufzeitende.</a:t>
            </a:r>
          </a:p>
          <a:p>
            <a:r>
              <a:rPr lang="de-DE" sz="1000" spc="10" baseline="30000" dirty="0">
                <a:cs typeface="EnBW DIN Pro"/>
              </a:rPr>
              <a:t>2</a:t>
            </a:r>
            <a:r>
              <a:rPr lang="de-DE" sz="1000" spc="10" dirty="0">
                <a:cs typeface="EnBW DIN Pro"/>
              </a:rPr>
              <a:t>Aufnahmen,  Pause und Restart sind bei einigen Sendungen aus lizenzrechtlichen Gründen nicht oder nur eingeschränkt möglich..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4EF1DADC-1141-AEDA-57F0-C77B081DE239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35390" y="1591657"/>
            <a:ext cx="2323354" cy="677437"/>
          </a:xfrm>
          <a:prstGeom prst="rect">
            <a:avLst/>
          </a:prstGeom>
        </p:spPr>
      </p:pic>
      <p:graphicFrame>
        <p:nvGraphicFramePr>
          <p:cNvPr id="6" name="Tabelle 10">
            <a:extLst>
              <a:ext uri="{FF2B5EF4-FFF2-40B4-BE49-F238E27FC236}">
                <a16:creationId xmlns:a16="http://schemas.microsoft.com/office/drawing/2014/main" id="{6B5C747E-0E25-55D9-D753-3143E5E1BB37}"/>
              </a:ext>
            </a:extLst>
          </p:cNvPr>
          <p:cNvGraphicFramePr>
            <a:graphicFrameLocks noGrp="1"/>
          </p:cNvGraphicFramePr>
          <p:nvPr/>
        </p:nvGraphicFramePr>
        <p:xfrm>
          <a:off x="7852029" y="2429990"/>
          <a:ext cx="3188242" cy="25529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34625">
                  <a:extLst>
                    <a:ext uri="{9D8B030D-6E8A-4147-A177-3AD203B41FA5}">
                      <a16:colId xmlns:a16="http://schemas.microsoft.com/office/drawing/2014/main" val="2240087566"/>
                    </a:ext>
                  </a:extLst>
                </a:gridCol>
                <a:gridCol w="1253617">
                  <a:extLst>
                    <a:ext uri="{9D8B030D-6E8A-4147-A177-3AD203B41FA5}">
                      <a16:colId xmlns:a16="http://schemas.microsoft.com/office/drawing/2014/main" val="648040424"/>
                    </a:ext>
                  </a:extLst>
                </a:gridCol>
              </a:tblGrid>
              <a:tr h="754645">
                <a:tc gridSpan="2">
                  <a:txBody>
                    <a:bodyPr/>
                    <a:lstStyle/>
                    <a:p>
                      <a:r>
                        <a:rPr lang="de-DE" sz="1800" kern="1200" dirty="0">
                          <a:solidFill>
                            <a:srgbClr val="322A26"/>
                          </a:solidFill>
                          <a:latin typeface="+mj-lt"/>
                          <a:ea typeface="+mn-ea"/>
                          <a:cs typeface="+mn-cs"/>
                        </a:rPr>
                        <a:t>Jetzt waipu.tv 4K Stick sichern!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5905042"/>
                  </a:ext>
                </a:extLst>
              </a:tr>
              <a:tr h="1504796">
                <a:tc>
                  <a:txBody>
                    <a:bodyPr/>
                    <a:lstStyle/>
                    <a:p>
                      <a:r>
                        <a:rPr lang="de-DE" sz="1400" b="0" kern="1200" dirty="0">
                          <a:solidFill>
                            <a:srgbClr val="322A26"/>
                          </a:solidFill>
                          <a:effectLst/>
                          <a:latin typeface="+mn-lt"/>
                          <a:ea typeface="+mn-ea"/>
                          <a:cs typeface="EnBW DIN Pro"/>
                        </a:rPr>
                        <a:t>Wählen Sie aus tausenden von Filmen, Serien und Live-Übertragungen – an jedem Fernseher – alles auf Knopfdruck verfügbar mit dem waipu.tv 4K Stick!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1400" b="0" kern="1200" dirty="0">
                        <a:solidFill>
                          <a:srgbClr val="322A26"/>
                        </a:solidFill>
                        <a:effectLst/>
                        <a:latin typeface="+mn-lt"/>
                        <a:ea typeface="+mn-ea"/>
                        <a:cs typeface="EnBW DIN Pro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7429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20524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133" dirty="0">
              <a:latin typeface="EnBW DIN Pro"/>
              <a:cs typeface="+mj-cs"/>
              <a:sym typeface="EnBW DIN Pro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Ihr regionaler Ansprechpartner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 | Januar 2024</a:t>
            </a:r>
            <a:endParaRPr lang="de-DE" dirty="0"/>
          </a:p>
        </p:txBody>
      </p:sp>
      <p:sp>
        <p:nvSpPr>
          <p:cNvPr id="98" name="Foliennummernplatzhalter 97">
            <a:extLst>
              <a:ext uri="{FF2B5EF4-FFF2-40B4-BE49-F238E27FC236}">
                <a16:creationId xmlns:a16="http://schemas.microsoft.com/office/drawing/2014/main" id="{E29B5632-200D-57F1-A0A8-5BEC4E9E9A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2</a:t>
            </a:fld>
            <a:endParaRPr lang="de-DE" dirty="0"/>
          </a:p>
        </p:txBody>
      </p:sp>
      <p:sp>
        <p:nvSpPr>
          <p:cNvPr id="44" name="Freeform 90">
            <a:extLst>
              <a:ext uri="{FF2B5EF4-FFF2-40B4-BE49-F238E27FC236}">
                <a16:creationId xmlns:a16="http://schemas.microsoft.com/office/drawing/2014/main" id="{AD522C66-671A-4109-B655-9367D6688792}"/>
              </a:ext>
            </a:extLst>
          </p:cNvPr>
          <p:cNvSpPr>
            <a:spLocks/>
          </p:cNvSpPr>
          <p:nvPr/>
        </p:nvSpPr>
        <p:spPr bwMode="gray">
          <a:xfrm>
            <a:off x="6835739" y="1144407"/>
            <a:ext cx="3774698" cy="4382871"/>
          </a:xfrm>
          <a:custGeom>
            <a:avLst/>
            <a:gdLst>
              <a:gd name="T0" fmla="*/ 476 w 726"/>
              <a:gd name="T1" fmla="*/ 756 h 788"/>
              <a:gd name="T2" fmla="*/ 440 w 726"/>
              <a:gd name="T3" fmla="*/ 748 h 788"/>
              <a:gd name="T4" fmla="*/ 420 w 726"/>
              <a:gd name="T5" fmla="*/ 730 h 788"/>
              <a:gd name="T6" fmla="*/ 402 w 726"/>
              <a:gd name="T7" fmla="*/ 712 h 788"/>
              <a:gd name="T8" fmla="*/ 372 w 726"/>
              <a:gd name="T9" fmla="*/ 696 h 788"/>
              <a:gd name="T10" fmla="*/ 368 w 726"/>
              <a:gd name="T11" fmla="*/ 704 h 788"/>
              <a:gd name="T12" fmla="*/ 402 w 726"/>
              <a:gd name="T13" fmla="*/ 736 h 788"/>
              <a:gd name="T14" fmla="*/ 394 w 726"/>
              <a:gd name="T15" fmla="*/ 744 h 788"/>
              <a:gd name="T16" fmla="*/ 346 w 726"/>
              <a:gd name="T17" fmla="*/ 720 h 788"/>
              <a:gd name="T18" fmla="*/ 346 w 726"/>
              <a:gd name="T19" fmla="*/ 728 h 788"/>
              <a:gd name="T20" fmla="*/ 346 w 726"/>
              <a:gd name="T21" fmla="*/ 740 h 788"/>
              <a:gd name="T22" fmla="*/ 302 w 726"/>
              <a:gd name="T23" fmla="*/ 740 h 788"/>
              <a:gd name="T24" fmla="*/ 218 w 726"/>
              <a:gd name="T25" fmla="*/ 722 h 788"/>
              <a:gd name="T26" fmla="*/ 238 w 726"/>
              <a:gd name="T27" fmla="*/ 774 h 788"/>
              <a:gd name="T28" fmla="*/ 204 w 726"/>
              <a:gd name="T29" fmla="*/ 778 h 788"/>
              <a:gd name="T30" fmla="*/ 156 w 726"/>
              <a:gd name="T31" fmla="*/ 762 h 788"/>
              <a:gd name="T32" fmla="*/ 110 w 726"/>
              <a:gd name="T33" fmla="*/ 780 h 788"/>
              <a:gd name="T34" fmla="*/ 76 w 726"/>
              <a:gd name="T35" fmla="*/ 774 h 788"/>
              <a:gd name="T36" fmla="*/ 40 w 726"/>
              <a:gd name="T37" fmla="*/ 782 h 788"/>
              <a:gd name="T38" fmla="*/ 8 w 726"/>
              <a:gd name="T39" fmla="*/ 748 h 788"/>
              <a:gd name="T40" fmla="*/ 4 w 726"/>
              <a:gd name="T41" fmla="*/ 708 h 788"/>
              <a:gd name="T42" fmla="*/ 6 w 726"/>
              <a:gd name="T43" fmla="*/ 670 h 788"/>
              <a:gd name="T44" fmla="*/ 22 w 726"/>
              <a:gd name="T45" fmla="*/ 618 h 788"/>
              <a:gd name="T46" fmla="*/ 22 w 726"/>
              <a:gd name="T47" fmla="*/ 584 h 788"/>
              <a:gd name="T48" fmla="*/ 56 w 726"/>
              <a:gd name="T49" fmla="*/ 512 h 788"/>
              <a:gd name="T50" fmla="*/ 60 w 726"/>
              <a:gd name="T51" fmla="*/ 482 h 788"/>
              <a:gd name="T52" fmla="*/ 80 w 726"/>
              <a:gd name="T53" fmla="*/ 426 h 788"/>
              <a:gd name="T54" fmla="*/ 96 w 726"/>
              <a:gd name="T55" fmla="*/ 400 h 788"/>
              <a:gd name="T56" fmla="*/ 116 w 726"/>
              <a:gd name="T57" fmla="*/ 370 h 788"/>
              <a:gd name="T58" fmla="*/ 144 w 726"/>
              <a:gd name="T59" fmla="*/ 346 h 788"/>
              <a:gd name="T60" fmla="*/ 156 w 726"/>
              <a:gd name="T61" fmla="*/ 318 h 788"/>
              <a:gd name="T62" fmla="*/ 208 w 726"/>
              <a:gd name="T63" fmla="*/ 250 h 788"/>
              <a:gd name="T64" fmla="*/ 220 w 726"/>
              <a:gd name="T65" fmla="*/ 218 h 788"/>
              <a:gd name="T66" fmla="*/ 242 w 726"/>
              <a:gd name="T67" fmla="*/ 180 h 788"/>
              <a:gd name="T68" fmla="*/ 246 w 726"/>
              <a:gd name="T69" fmla="*/ 144 h 788"/>
              <a:gd name="T70" fmla="*/ 234 w 726"/>
              <a:gd name="T71" fmla="*/ 118 h 788"/>
              <a:gd name="T72" fmla="*/ 270 w 726"/>
              <a:gd name="T73" fmla="*/ 82 h 788"/>
              <a:gd name="T74" fmla="*/ 302 w 726"/>
              <a:gd name="T75" fmla="*/ 68 h 788"/>
              <a:gd name="T76" fmla="*/ 320 w 726"/>
              <a:gd name="T77" fmla="*/ 130 h 788"/>
              <a:gd name="T78" fmla="*/ 358 w 726"/>
              <a:gd name="T79" fmla="*/ 80 h 788"/>
              <a:gd name="T80" fmla="*/ 420 w 726"/>
              <a:gd name="T81" fmla="*/ 68 h 788"/>
              <a:gd name="T82" fmla="*/ 444 w 726"/>
              <a:gd name="T83" fmla="*/ 6 h 788"/>
              <a:gd name="T84" fmla="*/ 506 w 726"/>
              <a:gd name="T85" fmla="*/ 0 h 788"/>
              <a:gd name="T86" fmla="*/ 536 w 726"/>
              <a:gd name="T87" fmla="*/ 32 h 788"/>
              <a:gd name="T88" fmla="*/ 558 w 726"/>
              <a:gd name="T89" fmla="*/ 68 h 788"/>
              <a:gd name="T90" fmla="*/ 592 w 726"/>
              <a:gd name="T91" fmla="*/ 94 h 788"/>
              <a:gd name="T92" fmla="*/ 634 w 726"/>
              <a:gd name="T93" fmla="*/ 108 h 788"/>
              <a:gd name="T94" fmla="*/ 640 w 726"/>
              <a:gd name="T95" fmla="*/ 200 h 788"/>
              <a:gd name="T96" fmla="*/ 710 w 726"/>
              <a:gd name="T97" fmla="*/ 326 h 788"/>
              <a:gd name="T98" fmla="*/ 706 w 726"/>
              <a:gd name="T99" fmla="*/ 378 h 788"/>
              <a:gd name="T100" fmla="*/ 664 w 726"/>
              <a:gd name="T101" fmla="*/ 376 h 788"/>
              <a:gd name="T102" fmla="*/ 640 w 726"/>
              <a:gd name="T103" fmla="*/ 452 h 788"/>
              <a:gd name="T104" fmla="*/ 596 w 726"/>
              <a:gd name="T105" fmla="*/ 510 h 788"/>
              <a:gd name="T106" fmla="*/ 636 w 726"/>
              <a:gd name="T107" fmla="*/ 632 h 788"/>
              <a:gd name="T108" fmla="*/ 624 w 726"/>
              <a:gd name="T109" fmla="*/ 694 h 788"/>
              <a:gd name="T110" fmla="*/ 610 w 726"/>
              <a:gd name="T111" fmla="*/ 730 h 788"/>
              <a:gd name="T112" fmla="*/ 530 w 726"/>
              <a:gd name="T113" fmla="*/ 758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26" h="788">
                <a:moveTo>
                  <a:pt x="498" y="774"/>
                </a:moveTo>
                <a:lnTo>
                  <a:pt x="498" y="774"/>
                </a:lnTo>
                <a:lnTo>
                  <a:pt x="486" y="762"/>
                </a:lnTo>
                <a:lnTo>
                  <a:pt x="486" y="762"/>
                </a:lnTo>
                <a:lnTo>
                  <a:pt x="476" y="756"/>
                </a:lnTo>
                <a:lnTo>
                  <a:pt x="464" y="752"/>
                </a:lnTo>
                <a:lnTo>
                  <a:pt x="454" y="750"/>
                </a:lnTo>
                <a:lnTo>
                  <a:pt x="444" y="750"/>
                </a:lnTo>
                <a:lnTo>
                  <a:pt x="444" y="750"/>
                </a:lnTo>
                <a:lnTo>
                  <a:pt x="440" y="748"/>
                </a:lnTo>
                <a:lnTo>
                  <a:pt x="436" y="748"/>
                </a:lnTo>
                <a:lnTo>
                  <a:pt x="430" y="742"/>
                </a:lnTo>
                <a:lnTo>
                  <a:pt x="424" y="736"/>
                </a:lnTo>
                <a:lnTo>
                  <a:pt x="420" y="730"/>
                </a:lnTo>
                <a:lnTo>
                  <a:pt x="420" y="730"/>
                </a:lnTo>
                <a:lnTo>
                  <a:pt x="414" y="724"/>
                </a:lnTo>
                <a:lnTo>
                  <a:pt x="410" y="718"/>
                </a:lnTo>
                <a:lnTo>
                  <a:pt x="406" y="714"/>
                </a:lnTo>
                <a:lnTo>
                  <a:pt x="402" y="712"/>
                </a:lnTo>
                <a:lnTo>
                  <a:pt x="402" y="712"/>
                </a:lnTo>
                <a:lnTo>
                  <a:pt x="396" y="710"/>
                </a:lnTo>
                <a:lnTo>
                  <a:pt x="390" y="708"/>
                </a:lnTo>
                <a:lnTo>
                  <a:pt x="382" y="702"/>
                </a:lnTo>
                <a:lnTo>
                  <a:pt x="382" y="702"/>
                </a:lnTo>
                <a:lnTo>
                  <a:pt x="372" y="696"/>
                </a:lnTo>
                <a:lnTo>
                  <a:pt x="368" y="696"/>
                </a:lnTo>
                <a:lnTo>
                  <a:pt x="366" y="698"/>
                </a:lnTo>
                <a:lnTo>
                  <a:pt x="366" y="698"/>
                </a:lnTo>
                <a:lnTo>
                  <a:pt x="366" y="702"/>
                </a:lnTo>
                <a:lnTo>
                  <a:pt x="368" y="704"/>
                </a:lnTo>
                <a:lnTo>
                  <a:pt x="376" y="712"/>
                </a:lnTo>
                <a:lnTo>
                  <a:pt x="396" y="724"/>
                </a:lnTo>
                <a:lnTo>
                  <a:pt x="396" y="724"/>
                </a:lnTo>
                <a:lnTo>
                  <a:pt x="400" y="730"/>
                </a:lnTo>
                <a:lnTo>
                  <a:pt x="402" y="736"/>
                </a:lnTo>
                <a:lnTo>
                  <a:pt x="402" y="740"/>
                </a:lnTo>
                <a:lnTo>
                  <a:pt x="400" y="744"/>
                </a:lnTo>
                <a:lnTo>
                  <a:pt x="400" y="744"/>
                </a:lnTo>
                <a:lnTo>
                  <a:pt x="398" y="744"/>
                </a:lnTo>
                <a:lnTo>
                  <a:pt x="394" y="744"/>
                </a:lnTo>
                <a:lnTo>
                  <a:pt x="386" y="740"/>
                </a:lnTo>
                <a:lnTo>
                  <a:pt x="368" y="728"/>
                </a:lnTo>
                <a:lnTo>
                  <a:pt x="368" y="728"/>
                </a:lnTo>
                <a:lnTo>
                  <a:pt x="352" y="720"/>
                </a:lnTo>
                <a:lnTo>
                  <a:pt x="346" y="720"/>
                </a:lnTo>
                <a:lnTo>
                  <a:pt x="344" y="720"/>
                </a:lnTo>
                <a:lnTo>
                  <a:pt x="344" y="722"/>
                </a:lnTo>
                <a:lnTo>
                  <a:pt x="344" y="722"/>
                </a:lnTo>
                <a:lnTo>
                  <a:pt x="344" y="726"/>
                </a:lnTo>
                <a:lnTo>
                  <a:pt x="346" y="728"/>
                </a:lnTo>
                <a:lnTo>
                  <a:pt x="348" y="732"/>
                </a:lnTo>
                <a:lnTo>
                  <a:pt x="350" y="736"/>
                </a:lnTo>
                <a:lnTo>
                  <a:pt x="350" y="736"/>
                </a:lnTo>
                <a:lnTo>
                  <a:pt x="348" y="740"/>
                </a:lnTo>
                <a:lnTo>
                  <a:pt x="346" y="740"/>
                </a:lnTo>
                <a:lnTo>
                  <a:pt x="336" y="742"/>
                </a:lnTo>
                <a:lnTo>
                  <a:pt x="328" y="726"/>
                </a:lnTo>
                <a:lnTo>
                  <a:pt x="318" y="726"/>
                </a:lnTo>
                <a:lnTo>
                  <a:pt x="314" y="740"/>
                </a:lnTo>
                <a:lnTo>
                  <a:pt x="302" y="740"/>
                </a:lnTo>
                <a:lnTo>
                  <a:pt x="292" y="722"/>
                </a:lnTo>
                <a:lnTo>
                  <a:pt x="290" y="700"/>
                </a:lnTo>
                <a:lnTo>
                  <a:pt x="252" y="702"/>
                </a:lnTo>
                <a:lnTo>
                  <a:pt x="246" y="716"/>
                </a:lnTo>
                <a:lnTo>
                  <a:pt x="218" y="722"/>
                </a:lnTo>
                <a:lnTo>
                  <a:pt x="230" y="746"/>
                </a:lnTo>
                <a:lnTo>
                  <a:pt x="250" y="744"/>
                </a:lnTo>
                <a:lnTo>
                  <a:pt x="252" y="754"/>
                </a:lnTo>
                <a:lnTo>
                  <a:pt x="232" y="764"/>
                </a:lnTo>
                <a:lnTo>
                  <a:pt x="238" y="774"/>
                </a:lnTo>
                <a:lnTo>
                  <a:pt x="226" y="782"/>
                </a:lnTo>
                <a:lnTo>
                  <a:pt x="226" y="782"/>
                </a:lnTo>
                <a:lnTo>
                  <a:pt x="220" y="780"/>
                </a:lnTo>
                <a:lnTo>
                  <a:pt x="204" y="778"/>
                </a:lnTo>
                <a:lnTo>
                  <a:pt x="204" y="778"/>
                </a:lnTo>
                <a:lnTo>
                  <a:pt x="194" y="778"/>
                </a:lnTo>
                <a:lnTo>
                  <a:pt x="184" y="774"/>
                </a:lnTo>
                <a:lnTo>
                  <a:pt x="162" y="764"/>
                </a:lnTo>
                <a:lnTo>
                  <a:pt x="162" y="764"/>
                </a:lnTo>
                <a:lnTo>
                  <a:pt x="156" y="762"/>
                </a:lnTo>
                <a:lnTo>
                  <a:pt x="148" y="764"/>
                </a:lnTo>
                <a:lnTo>
                  <a:pt x="136" y="768"/>
                </a:lnTo>
                <a:lnTo>
                  <a:pt x="122" y="776"/>
                </a:lnTo>
                <a:lnTo>
                  <a:pt x="110" y="780"/>
                </a:lnTo>
                <a:lnTo>
                  <a:pt x="110" y="780"/>
                </a:lnTo>
                <a:lnTo>
                  <a:pt x="98" y="782"/>
                </a:lnTo>
                <a:lnTo>
                  <a:pt x="90" y="782"/>
                </a:lnTo>
                <a:lnTo>
                  <a:pt x="82" y="778"/>
                </a:lnTo>
                <a:lnTo>
                  <a:pt x="76" y="774"/>
                </a:lnTo>
                <a:lnTo>
                  <a:pt x="76" y="774"/>
                </a:lnTo>
                <a:lnTo>
                  <a:pt x="72" y="774"/>
                </a:lnTo>
                <a:lnTo>
                  <a:pt x="68" y="774"/>
                </a:lnTo>
                <a:lnTo>
                  <a:pt x="58" y="778"/>
                </a:lnTo>
                <a:lnTo>
                  <a:pt x="48" y="788"/>
                </a:lnTo>
                <a:lnTo>
                  <a:pt x="40" y="782"/>
                </a:lnTo>
                <a:lnTo>
                  <a:pt x="60" y="754"/>
                </a:lnTo>
                <a:lnTo>
                  <a:pt x="44" y="744"/>
                </a:lnTo>
                <a:lnTo>
                  <a:pt x="18" y="766"/>
                </a:lnTo>
                <a:lnTo>
                  <a:pt x="18" y="766"/>
                </a:lnTo>
                <a:lnTo>
                  <a:pt x="8" y="748"/>
                </a:lnTo>
                <a:lnTo>
                  <a:pt x="4" y="736"/>
                </a:lnTo>
                <a:lnTo>
                  <a:pt x="4" y="730"/>
                </a:lnTo>
                <a:lnTo>
                  <a:pt x="4" y="722"/>
                </a:lnTo>
                <a:lnTo>
                  <a:pt x="4" y="722"/>
                </a:lnTo>
                <a:lnTo>
                  <a:pt x="4" y="708"/>
                </a:lnTo>
                <a:lnTo>
                  <a:pt x="0" y="692"/>
                </a:lnTo>
                <a:lnTo>
                  <a:pt x="0" y="692"/>
                </a:lnTo>
                <a:lnTo>
                  <a:pt x="0" y="686"/>
                </a:lnTo>
                <a:lnTo>
                  <a:pt x="2" y="682"/>
                </a:lnTo>
                <a:lnTo>
                  <a:pt x="6" y="670"/>
                </a:lnTo>
                <a:lnTo>
                  <a:pt x="18" y="644"/>
                </a:lnTo>
                <a:lnTo>
                  <a:pt x="18" y="644"/>
                </a:lnTo>
                <a:lnTo>
                  <a:pt x="22" y="634"/>
                </a:lnTo>
                <a:lnTo>
                  <a:pt x="22" y="626"/>
                </a:lnTo>
                <a:lnTo>
                  <a:pt x="22" y="618"/>
                </a:lnTo>
                <a:lnTo>
                  <a:pt x="18" y="610"/>
                </a:lnTo>
                <a:lnTo>
                  <a:pt x="18" y="610"/>
                </a:lnTo>
                <a:lnTo>
                  <a:pt x="16" y="602"/>
                </a:lnTo>
                <a:lnTo>
                  <a:pt x="18" y="594"/>
                </a:lnTo>
                <a:lnTo>
                  <a:pt x="22" y="584"/>
                </a:lnTo>
                <a:lnTo>
                  <a:pt x="22" y="584"/>
                </a:lnTo>
                <a:lnTo>
                  <a:pt x="52" y="528"/>
                </a:lnTo>
                <a:lnTo>
                  <a:pt x="52" y="528"/>
                </a:lnTo>
                <a:lnTo>
                  <a:pt x="56" y="518"/>
                </a:lnTo>
                <a:lnTo>
                  <a:pt x="56" y="512"/>
                </a:lnTo>
                <a:lnTo>
                  <a:pt x="56" y="508"/>
                </a:lnTo>
                <a:lnTo>
                  <a:pt x="56" y="508"/>
                </a:lnTo>
                <a:lnTo>
                  <a:pt x="56" y="502"/>
                </a:lnTo>
                <a:lnTo>
                  <a:pt x="56" y="496"/>
                </a:lnTo>
                <a:lnTo>
                  <a:pt x="60" y="482"/>
                </a:lnTo>
                <a:lnTo>
                  <a:pt x="68" y="460"/>
                </a:lnTo>
                <a:lnTo>
                  <a:pt x="68" y="460"/>
                </a:lnTo>
                <a:lnTo>
                  <a:pt x="76" y="448"/>
                </a:lnTo>
                <a:lnTo>
                  <a:pt x="80" y="438"/>
                </a:lnTo>
                <a:lnTo>
                  <a:pt x="80" y="426"/>
                </a:lnTo>
                <a:lnTo>
                  <a:pt x="80" y="426"/>
                </a:lnTo>
                <a:lnTo>
                  <a:pt x="82" y="416"/>
                </a:lnTo>
                <a:lnTo>
                  <a:pt x="86" y="410"/>
                </a:lnTo>
                <a:lnTo>
                  <a:pt x="96" y="400"/>
                </a:lnTo>
                <a:lnTo>
                  <a:pt x="96" y="400"/>
                </a:lnTo>
                <a:lnTo>
                  <a:pt x="102" y="390"/>
                </a:lnTo>
                <a:lnTo>
                  <a:pt x="106" y="380"/>
                </a:lnTo>
                <a:lnTo>
                  <a:pt x="106" y="380"/>
                </a:lnTo>
                <a:lnTo>
                  <a:pt x="110" y="374"/>
                </a:lnTo>
                <a:lnTo>
                  <a:pt x="116" y="370"/>
                </a:lnTo>
                <a:lnTo>
                  <a:pt x="130" y="362"/>
                </a:lnTo>
                <a:lnTo>
                  <a:pt x="130" y="362"/>
                </a:lnTo>
                <a:lnTo>
                  <a:pt x="136" y="358"/>
                </a:lnTo>
                <a:lnTo>
                  <a:pt x="140" y="352"/>
                </a:lnTo>
                <a:lnTo>
                  <a:pt x="144" y="346"/>
                </a:lnTo>
                <a:lnTo>
                  <a:pt x="144" y="342"/>
                </a:lnTo>
                <a:lnTo>
                  <a:pt x="144" y="342"/>
                </a:lnTo>
                <a:lnTo>
                  <a:pt x="146" y="336"/>
                </a:lnTo>
                <a:lnTo>
                  <a:pt x="150" y="330"/>
                </a:lnTo>
                <a:lnTo>
                  <a:pt x="156" y="318"/>
                </a:lnTo>
                <a:lnTo>
                  <a:pt x="156" y="318"/>
                </a:lnTo>
                <a:lnTo>
                  <a:pt x="176" y="298"/>
                </a:lnTo>
                <a:lnTo>
                  <a:pt x="176" y="298"/>
                </a:lnTo>
                <a:lnTo>
                  <a:pt x="192" y="274"/>
                </a:lnTo>
                <a:lnTo>
                  <a:pt x="208" y="250"/>
                </a:lnTo>
                <a:lnTo>
                  <a:pt x="208" y="250"/>
                </a:lnTo>
                <a:lnTo>
                  <a:pt x="216" y="238"/>
                </a:lnTo>
                <a:lnTo>
                  <a:pt x="218" y="226"/>
                </a:lnTo>
                <a:lnTo>
                  <a:pt x="218" y="226"/>
                </a:lnTo>
                <a:lnTo>
                  <a:pt x="220" y="218"/>
                </a:lnTo>
                <a:lnTo>
                  <a:pt x="222" y="210"/>
                </a:lnTo>
                <a:lnTo>
                  <a:pt x="234" y="194"/>
                </a:lnTo>
                <a:lnTo>
                  <a:pt x="234" y="194"/>
                </a:lnTo>
                <a:lnTo>
                  <a:pt x="240" y="186"/>
                </a:lnTo>
                <a:lnTo>
                  <a:pt x="242" y="180"/>
                </a:lnTo>
                <a:lnTo>
                  <a:pt x="242" y="170"/>
                </a:lnTo>
                <a:lnTo>
                  <a:pt x="242" y="170"/>
                </a:lnTo>
                <a:lnTo>
                  <a:pt x="242" y="158"/>
                </a:lnTo>
                <a:lnTo>
                  <a:pt x="246" y="144"/>
                </a:lnTo>
                <a:lnTo>
                  <a:pt x="246" y="144"/>
                </a:lnTo>
                <a:lnTo>
                  <a:pt x="246" y="138"/>
                </a:lnTo>
                <a:lnTo>
                  <a:pt x="244" y="134"/>
                </a:lnTo>
                <a:lnTo>
                  <a:pt x="238" y="126"/>
                </a:lnTo>
                <a:lnTo>
                  <a:pt x="238" y="126"/>
                </a:lnTo>
                <a:lnTo>
                  <a:pt x="234" y="118"/>
                </a:lnTo>
                <a:lnTo>
                  <a:pt x="232" y="108"/>
                </a:lnTo>
                <a:lnTo>
                  <a:pt x="232" y="108"/>
                </a:lnTo>
                <a:lnTo>
                  <a:pt x="228" y="54"/>
                </a:lnTo>
                <a:lnTo>
                  <a:pt x="262" y="64"/>
                </a:lnTo>
                <a:lnTo>
                  <a:pt x="270" y="82"/>
                </a:lnTo>
                <a:lnTo>
                  <a:pt x="284" y="80"/>
                </a:lnTo>
                <a:lnTo>
                  <a:pt x="284" y="68"/>
                </a:lnTo>
                <a:lnTo>
                  <a:pt x="278" y="50"/>
                </a:lnTo>
                <a:lnTo>
                  <a:pt x="292" y="44"/>
                </a:lnTo>
                <a:lnTo>
                  <a:pt x="302" y="68"/>
                </a:lnTo>
                <a:lnTo>
                  <a:pt x="332" y="78"/>
                </a:lnTo>
                <a:lnTo>
                  <a:pt x="330" y="94"/>
                </a:lnTo>
                <a:lnTo>
                  <a:pt x="320" y="94"/>
                </a:lnTo>
                <a:lnTo>
                  <a:pt x="310" y="122"/>
                </a:lnTo>
                <a:lnTo>
                  <a:pt x="320" y="130"/>
                </a:lnTo>
                <a:lnTo>
                  <a:pt x="330" y="114"/>
                </a:lnTo>
                <a:lnTo>
                  <a:pt x="342" y="114"/>
                </a:lnTo>
                <a:lnTo>
                  <a:pt x="348" y="98"/>
                </a:lnTo>
                <a:lnTo>
                  <a:pt x="346" y="82"/>
                </a:lnTo>
                <a:lnTo>
                  <a:pt x="358" y="80"/>
                </a:lnTo>
                <a:lnTo>
                  <a:pt x="364" y="92"/>
                </a:lnTo>
                <a:lnTo>
                  <a:pt x="378" y="88"/>
                </a:lnTo>
                <a:lnTo>
                  <a:pt x="378" y="66"/>
                </a:lnTo>
                <a:lnTo>
                  <a:pt x="396" y="74"/>
                </a:lnTo>
                <a:lnTo>
                  <a:pt x="420" y="68"/>
                </a:lnTo>
                <a:lnTo>
                  <a:pt x="430" y="48"/>
                </a:lnTo>
                <a:lnTo>
                  <a:pt x="450" y="46"/>
                </a:lnTo>
                <a:lnTo>
                  <a:pt x="448" y="20"/>
                </a:lnTo>
                <a:lnTo>
                  <a:pt x="440" y="18"/>
                </a:lnTo>
                <a:lnTo>
                  <a:pt x="444" y="6"/>
                </a:lnTo>
                <a:lnTo>
                  <a:pt x="470" y="8"/>
                </a:lnTo>
                <a:lnTo>
                  <a:pt x="478" y="18"/>
                </a:lnTo>
                <a:lnTo>
                  <a:pt x="490" y="16"/>
                </a:lnTo>
                <a:lnTo>
                  <a:pt x="498" y="0"/>
                </a:lnTo>
                <a:lnTo>
                  <a:pt x="506" y="0"/>
                </a:lnTo>
                <a:lnTo>
                  <a:pt x="506" y="32"/>
                </a:lnTo>
                <a:lnTo>
                  <a:pt x="516" y="32"/>
                </a:lnTo>
                <a:lnTo>
                  <a:pt x="516" y="24"/>
                </a:lnTo>
                <a:lnTo>
                  <a:pt x="532" y="22"/>
                </a:lnTo>
                <a:lnTo>
                  <a:pt x="536" y="32"/>
                </a:lnTo>
                <a:lnTo>
                  <a:pt x="546" y="32"/>
                </a:lnTo>
                <a:lnTo>
                  <a:pt x="548" y="20"/>
                </a:lnTo>
                <a:lnTo>
                  <a:pt x="562" y="20"/>
                </a:lnTo>
                <a:lnTo>
                  <a:pt x="566" y="46"/>
                </a:lnTo>
                <a:lnTo>
                  <a:pt x="558" y="68"/>
                </a:lnTo>
                <a:lnTo>
                  <a:pt x="564" y="72"/>
                </a:lnTo>
                <a:lnTo>
                  <a:pt x="576" y="64"/>
                </a:lnTo>
                <a:lnTo>
                  <a:pt x="582" y="68"/>
                </a:lnTo>
                <a:lnTo>
                  <a:pt x="582" y="88"/>
                </a:lnTo>
                <a:lnTo>
                  <a:pt x="592" y="94"/>
                </a:lnTo>
                <a:lnTo>
                  <a:pt x="606" y="88"/>
                </a:lnTo>
                <a:lnTo>
                  <a:pt x="606" y="78"/>
                </a:lnTo>
                <a:lnTo>
                  <a:pt x="622" y="68"/>
                </a:lnTo>
                <a:lnTo>
                  <a:pt x="634" y="78"/>
                </a:lnTo>
                <a:lnTo>
                  <a:pt x="634" y="108"/>
                </a:lnTo>
                <a:lnTo>
                  <a:pt x="642" y="130"/>
                </a:lnTo>
                <a:lnTo>
                  <a:pt x="632" y="140"/>
                </a:lnTo>
                <a:lnTo>
                  <a:pt x="642" y="160"/>
                </a:lnTo>
                <a:lnTo>
                  <a:pt x="636" y="174"/>
                </a:lnTo>
                <a:lnTo>
                  <a:pt x="640" y="200"/>
                </a:lnTo>
                <a:lnTo>
                  <a:pt x="664" y="220"/>
                </a:lnTo>
                <a:lnTo>
                  <a:pt x="662" y="232"/>
                </a:lnTo>
                <a:lnTo>
                  <a:pt x="674" y="266"/>
                </a:lnTo>
                <a:lnTo>
                  <a:pt x="708" y="286"/>
                </a:lnTo>
                <a:lnTo>
                  <a:pt x="710" y="326"/>
                </a:lnTo>
                <a:lnTo>
                  <a:pt x="708" y="348"/>
                </a:lnTo>
                <a:lnTo>
                  <a:pt x="724" y="360"/>
                </a:lnTo>
                <a:lnTo>
                  <a:pt x="726" y="380"/>
                </a:lnTo>
                <a:lnTo>
                  <a:pt x="712" y="390"/>
                </a:lnTo>
                <a:lnTo>
                  <a:pt x="706" y="378"/>
                </a:lnTo>
                <a:lnTo>
                  <a:pt x="696" y="380"/>
                </a:lnTo>
                <a:lnTo>
                  <a:pt x="694" y="390"/>
                </a:lnTo>
                <a:lnTo>
                  <a:pt x="684" y="388"/>
                </a:lnTo>
                <a:lnTo>
                  <a:pt x="682" y="380"/>
                </a:lnTo>
                <a:lnTo>
                  <a:pt x="664" y="376"/>
                </a:lnTo>
                <a:lnTo>
                  <a:pt x="656" y="386"/>
                </a:lnTo>
                <a:lnTo>
                  <a:pt x="672" y="428"/>
                </a:lnTo>
                <a:lnTo>
                  <a:pt x="662" y="430"/>
                </a:lnTo>
                <a:lnTo>
                  <a:pt x="666" y="440"/>
                </a:lnTo>
                <a:lnTo>
                  <a:pt x="640" y="452"/>
                </a:lnTo>
                <a:lnTo>
                  <a:pt x="634" y="446"/>
                </a:lnTo>
                <a:lnTo>
                  <a:pt x="616" y="458"/>
                </a:lnTo>
                <a:lnTo>
                  <a:pt x="614" y="472"/>
                </a:lnTo>
                <a:lnTo>
                  <a:pt x="586" y="488"/>
                </a:lnTo>
                <a:lnTo>
                  <a:pt x="596" y="510"/>
                </a:lnTo>
                <a:lnTo>
                  <a:pt x="604" y="510"/>
                </a:lnTo>
                <a:lnTo>
                  <a:pt x="618" y="538"/>
                </a:lnTo>
                <a:lnTo>
                  <a:pt x="616" y="576"/>
                </a:lnTo>
                <a:lnTo>
                  <a:pt x="628" y="586"/>
                </a:lnTo>
                <a:lnTo>
                  <a:pt x="636" y="632"/>
                </a:lnTo>
                <a:lnTo>
                  <a:pt x="626" y="650"/>
                </a:lnTo>
                <a:lnTo>
                  <a:pt x="626" y="668"/>
                </a:lnTo>
                <a:lnTo>
                  <a:pt x="636" y="674"/>
                </a:lnTo>
                <a:lnTo>
                  <a:pt x="636" y="684"/>
                </a:lnTo>
                <a:lnTo>
                  <a:pt x="624" y="694"/>
                </a:lnTo>
                <a:lnTo>
                  <a:pt x="624" y="706"/>
                </a:lnTo>
                <a:lnTo>
                  <a:pt x="634" y="710"/>
                </a:lnTo>
                <a:lnTo>
                  <a:pt x="638" y="724"/>
                </a:lnTo>
                <a:lnTo>
                  <a:pt x="620" y="748"/>
                </a:lnTo>
                <a:lnTo>
                  <a:pt x="610" y="730"/>
                </a:lnTo>
                <a:lnTo>
                  <a:pt x="594" y="730"/>
                </a:lnTo>
                <a:lnTo>
                  <a:pt x="584" y="742"/>
                </a:lnTo>
                <a:lnTo>
                  <a:pt x="562" y="734"/>
                </a:lnTo>
                <a:lnTo>
                  <a:pt x="556" y="746"/>
                </a:lnTo>
                <a:lnTo>
                  <a:pt x="530" y="758"/>
                </a:lnTo>
                <a:lnTo>
                  <a:pt x="518" y="754"/>
                </a:lnTo>
                <a:lnTo>
                  <a:pt x="500" y="774"/>
                </a:lnTo>
                <a:lnTo>
                  <a:pt x="498" y="774"/>
                </a:lnTo>
                <a:close/>
              </a:path>
            </a:pathLst>
          </a:custGeom>
          <a:solidFill>
            <a:srgbClr val="EDE6E1"/>
          </a:solidFill>
          <a:ln w="12700" cap="flat">
            <a:solidFill>
              <a:srgbClr val="D9CEC9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>
              <a:solidFill>
                <a:prstClr val="black"/>
              </a:solidFill>
              <a:latin typeface="EnBW DIN Pro"/>
            </a:endParaRPr>
          </a:p>
        </p:txBody>
      </p:sp>
      <p:sp>
        <p:nvSpPr>
          <p:cNvPr id="60" name="Textfeld 29">
            <a:extLst>
              <a:ext uri="{FF2B5EF4-FFF2-40B4-BE49-F238E27FC236}">
                <a16:creationId xmlns:a16="http://schemas.microsoft.com/office/drawing/2014/main" id="{B584FEC3-E22D-A13D-1FF8-1B744B2DCF31}"/>
              </a:ext>
            </a:extLst>
          </p:cNvPr>
          <p:cNvSpPr txBox="1"/>
          <p:nvPr/>
        </p:nvSpPr>
        <p:spPr bwMode="gray">
          <a:xfrm>
            <a:off x="6068255" y="3341974"/>
            <a:ext cx="4678009" cy="119719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de-DE"/>
            </a:defPPr>
            <a:lvl1pPr algn="ctr">
              <a:lnSpc>
                <a:spcPct val="90000"/>
              </a:lnSpc>
              <a:defRPr sz="80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</a:lstStyle>
          <a:p>
            <a:pPr algn="l" defTabSz="1210894">
              <a:spcAft>
                <a:spcPts val="400"/>
              </a:spcAft>
            </a:pPr>
            <a:r>
              <a:rPr lang="de-DE" sz="1600" kern="0" dirty="0">
                <a:solidFill>
                  <a:schemeClr val="tx1"/>
                </a:solidFill>
                <a:latin typeface="+mj-lt"/>
                <a:cs typeface="EnBW DIN Pro"/>
                <a:sym typeface="EnBW DIN Pro"/>
              </a:rPr>
              <a:t>Christoph Kempter</a:t>
            </a:r>
          </a:p>
          <a:p>
            <a:pPr algn="l" defTabSz="1210894">
              <a:spcAft>
                <a:spcPts val="400"/>
              </a:spcAft>
            </a:pPr>
            <a:r>
              <a:rPr lang="de-DE" sz="1400" kern="0" dirty="0">
                <a:solidFill>
                  <a:schemeClr val="tx1"/>
                </a:solidFill>
                <a:latin typeface="+mn-lt"/>
                <a:cs typeface="EnBW DIN Pro"/>
                <a:sym typeface="EnBW DIN Pro"/>
              </a:rPr>
              <a:t>Neuhausen-Schwandorf</a:t>
            </a:r>
          </a:p>
          <a:p>
            <a:pPr algn="l" defTabSz="1210894">
              <a:spcAft>
                <a:spcPts val="400"/>
              </a:spcAft>
            </a:pPr>
            <a:r>
              <a:rPr lang="de-DE" sz="1400" kern="0" dirty="0">
                <a:solidFill>
                  <a:schemeClr val="tx1"/>
                </a:solidFill>
                <a:latin typeface="+mn-lt"/>
                <a:cs typeface="EnBW DIN Pro"/>
                <a:sym typeface="EnBW DIN Pro"/>
              </a:rPr>
              <a:t>Telefon: 0175 4164330</a:t>
            </a:r>
            <a:br>
              <a:rPr lang="de-DE" sz="1400" kern="0" dirty="0">
                <a:solidFill>
                  <a:schemeClr val="tx1"/>
                </a:solidFill>
                <a:latin typeface="+mn-lt"/>
                <a:cs typeface="EnBW DIN Pro"/>
                <a:sym typeface="EnBW DIN Pro"/>
              </a:rPr>
            </a:br>
            <a:r>
              <a:rPr lang="de-DE" sz="1400" kern="0" dirty="0">
                <a:solidFill>
                  <a:schemeClr val="tx1"/>
                </a:solidFill>
                <a:latin typeface="+mn-lt"/>
                <a:cs typeface="EnBW DIN Pro"/>
                <a:sym typeface="EnBW DIN Pro"/>
              </a:rPr>
              <a:t>E-Mail: christoph.kempter@netcom-mail.de</a:t>
            </a:r>
            <a:br>
              <a:rPr lang="de-DE" sz="1400" kern="0" dirty="0">
                <a:solidFill>
                  <a:schemeClr val="tx1"/>
                </a:solidFill>
                <a:latin typeface="+mn-lt"/>
                <a:cs typeface="EnBW DIN Pro"/>
                <a:sym typeface="EnBW DIN Pro"/>
              </a:rPr>
            </a:br>
            <a:endParaRPr lang="de-DE" sz="1400" kern="0" dirty="0">
              <a:solidFill>
                <a:schemeClr val="tx1"/>
              </a:solidFill>
              <a:latin typeface="+mn-lt"/>
              <a:cs typeface="EnBW DIN Pro"/>
              <a:sym typeface="EnBW DIN Pro"/>
            </a:endParaRPr>
          </a:p>
        </p:txBody>
      </p:sp>
      <p:grpSp>
        <p:nvGrpSpPr>
          <p:cNvPr id="67" name="Gruppieren 66">
            <a:extLst>
              <a:ext uri="{FF2B5EF4-FFF2-40B4-BE49-F238E27FC236}">
                <a16:creationId xmlns:a16="http://schemas.microsoft.com/office/drawing/2014/main" id="{26890E99-DADB-00FA-5697-AF4ACFE9D343}"/>
              </a:ext>
            </a:extLst>
          </p:cNvPr>
          <p:cNvGrpSpPr/>
          <p:nvPr/>
        </p:nvGrpSpPr>
        <p:grpSpPr>
          <a:xfrm>
            <a:off x="8492184" y="4568906"/>
            <a:ext cx="356038" cy="356038"/>
            <a:chOff x="3749238" y="4847788"/>
            <a:chExt cx="356038" cy="356038"/>
          </a:xfrm>
        </p:grpSpPr>
        <p:sp>
          <p:nvSpPr>
            <p:cNvPr id="68" name="Bogen 67">
              <a:extLst>
                <a:ext uri="{FF2B5EF4-FFF2-40B4-BE49-F238E27FC236}">
                  <a16:creationId xmlns:a16="http://schemas.microsoft.com/office/drawing/2014/main" id="{73EA2475-568B-F2EA-9362-305097D61B31}"/>
                </a:ext>
              </a:extLst>
            </p:cNvPr>
            <p:cNvSpPr/>
            <p:nvPr/>
          </p:nvSpPr>
          <p:spPr bwMode="auto">
            <a:xfrm>
              <a:off x="3749238" y="4847788"/>
              <a:ext cx="356038" cy="356038"/>
            </a:xfrm>
            <a:prstGeom prst="arc">
              <a:avLst>
                <a:gd name="adj1" fmla="val 9832532"/>
                <a:gd name="adj2" fmla="val 8247993"/>
              </a:avLst>
            </a:prstGeom>
            <a:ln w="25400" cap="rnd">
              <a:solidFill>
                <a:schemeClr val="bg2"/>
              </a:solidFill>
              <a:prstDash val="solid"/>
            </a:ln>
          </p:spPr>
          <p:txBody>
            <a:bodyPr vert="horz" wrap="square" lIns="108000" tIns="108000" rIns="108000" bIns="108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377" eaLnBrk="0" fontAlgn="base" hangingPunct="0">
                <a:spcAft>
                  <a:spcPct val="0"/>
                </a:spcAft>
              </a:pPr>
              <a:endParaRPr lang="de-DE" sz="1400" dirty="0" err="1"/>
            </a:p>
          </p:txBody>
        </p:sp>
        <p:sp>
          <p:nvSpPr>
            <p:cNvPr id="69" name="Ellipse 68">
              <a:extLst>
                <a:ext uri="{FF2B5EF4-FFF2-40B4-BE49-F238E27FC236}">
                  <a16:creationId xmlns:a16="http://schemas.microsoft.com/office/drawing/2014/main" id="{01E6E406-B33F-35A8-27B7-13EA2DBA4953}"/>
                </a:ext>
              </a:extLst>
            </p:cNvPr>
            <p:cNvSpPr/>
            <p:nvPr/>
          </p:nvSpPr>
          <p:spPr bwMode="gray">
            <a:xfrm>
              <a:off x="3855257" y="4953807"/>
              <a:ext cx="144000" cy="144000"/>
            </a:xfrm>
            <a:prstGeom prst="ellipse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rtlCol="0" anchor="ctr"/>
            <a:lstStyle/>
            <a:p>
              <a:pPr algn="ctr"/>
              <a:endParaRPr lang="de-DE" sz="1600" dirty="0" err="1">
                <a:solidFill>
                  <a:schemeClr val="tx1"/>
                </a:solidFill>
              </a:endParaRPr>
            </a:p>
          </p:txBody>
        </p:sp>
      </p:grpSp>
      <p:pic>
        <p:nvPicPr>
          <p:cNvPr id="9" name="Grafik 8">
            <a:extLst>
              <a:ext uri="{FF2B5EF4-FFF2-40B4-BE49-F238E27FC236}">
                <a16:creationId xmlns:a16="http://schemas.microsoft.com/office/drawing/2014/main" id="{37BE3AF6-287B-717A-326B-F9F099BE13A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 flipV="1">
            <a:off x="35715" y="2955862"/>
            <a:ext cx="6025417" cy="3815565"/>
          </a:xfrm>
          <a:prstGeom prst="rect">
            <a:avLst/>
          </a:prstGeom>
        </p:spPr>
      </p:pic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2E473FAB-567B-3982-82D9-A6F393E7C5D3}"/>
              </a:ext>
            </a:extLst>
          </p:cNvPr>
          <p:cNvGrpSpPr/>
          <p:nvPr/>
        </p:nvGrpSpPr>
        <p:grpSpPr>
          <a:xfrm>
            <a:off x="-483633" y="2160932"/>
            <a:ext cx="4710264" cy="6688606"/>
            <a:chOff x="-167" y="548680"/>
            <a:chExt cx="5188976" cy="7604544"/>
          </a:xfrm>
        </p:grpSpPr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34718D99-E097-0C39-1DCB-CFD0220960E3}"/>
                </a:ext>
              </a:extLst>
            </p:cNvPr>
            <p:cNvSpPr/>
            <p:nvPr/>
          </p:nvSpPr>
          <p:spPr>
            <a:xfrm>
              <a:off x="1829585" y="1795400"/>
              <a:ext cx="956510" cy="2744409"/>
            </a:xfrm>
            <a:custGeom>
              <a:avLst/>
              <a:gdLst>
                <a:gd name="connsiteX0" fmla="*/ 508132 w 956510"/>
                <a:gd name="connsiteY0" fmla="*/ 2744410 h 2744409"/>
                <a:gd name="connsiteX1" fmla="*/ 918956 w 956510"/>
                <a:gd name="connsiteY1" fmla="*/ 2744410 h 2744409"/>
                <a:gd name="connsiteX2" fmla="*/ 955901 w 956510"/>
                <a:gd name="connsiteY2" fmla="*/ 2699920 h 2744409"/>
                <a:gd name="connsiteX3" fmla="*/ 500847 w 956510"/>
                <a:gd name="connsiteY3" fmla="*/ 279744 h 2744409"/>
                <a:gd name="connsiteX4" fmla="*/ 110837 w 956510"/>
                <a:gd name="connsiteY4" fmla="*/ 4996 h 2744409"/>
                <a:gd name="connsiteX5" fmla="*/ 0 w 956510"/>
                <a:gd name="connsiteY5" fmla="*/ 24249 h 2744409"/>
                <a:gd name="connsiteX6" fmla="*/ 471446 w 956510"/>
                <a:gd name="connsiteY6" fmla="*/ 2713189 h 2744409"/>
                <a:gd name="connsiteX7" fmla="*/ 508392 w 956510"/>
                <a:gd name="connsiteY7" fmla="*/ 2744150 h 2744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56510" h="2744409">
                  <a:moveTo>
                    <a:pt x="508132" y="2744410"/>
                  </a:moveTo>
                  <a:lnTo>
                    <a:pt x="918956" y="2744410"/>
                  </a:lnTo>
                  <a:cubicBezTo>
                    <a:pt x="942372" y="2744410"/>
                    <a:pt x="960064" y="2723075"/>
                    <a:pt x="955901" y="2699920"/>
                  </a:cubicBezTo>
                  <a:lnTo>
                    <a:pt x="500847" y="279744"/>
                  </a:lnTo>
                  <a:cubicBezTo>
                    <a:pt x="468844" y="96058"/>
                    <a:pt x="294264" y="-26746"/>
                    <a:pt x="110837" y="4996"/>
                  </a:cubicBezTo>
                  <a:lnTo>
                    <a:pt x="0" y="24249"/>
                  </a:lnTo>
                  <a:lnTo>
                    <a:pt x="471446" y="2713189"/>
                  </a:lnTo>
                  <a:cubicBezTo>
                    <a:pt x="474568" y="2731141"/>
                    <a:pt x="490179" y="2744150"/>
                    <a:pt x="508392" y="2744150"/>
                  </a:cubicBezTo>
                </a:path>
              </a:pathLst>
            </a:custGeom>
            <a:solidFill>
              <a:srgbClr val="212A5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B2521B10-6D0B-B08F-F1ED-44F2A7ACF367}"/>
                </a:ext>
              </a:extLst>
            </p:cNvPr>
            <p:cNvSpPr/>
            <p:nvPr/>
          </p:nvSpPr>
          <p:spPr>
            <a:xfrm>
              <a:off x="2479091" y="5115583"/>
              <a:ext cx="153929" cy="189149"/>
            </a:xfrm>
            <a:custGeom>
              <a:avLst/>
              <a:gdLst>
                <a:gd name="connsiteX0" fmla="*/ 153930 w 153929"/>
                <a:gd name="connsiteY0" fmla="*/ 75972 h 189149"/>
                <a:gd name="connsiteX1" fmla="*/ 39191 w 153929"/>
                <a:gd name="connsiteY1" fmla="*/ 189150 h 189149"/>
                <a:gd name="connsiteX2" fmla="*/ 25401 w 153929"/>
                <a:gd name="connsiteY2" fmla="*/ 175100 h 189149"/>
                <a:gd name="connsiteX3" fmla="*/ 25921 w 153929"/>
                <a:gd name="connsiteY3" fmla="*/ 51515 h 189149"/>
                <a:gd name="connsiteX4" fmla="*/ 78218 w 153929"/>
                <a:gd name="connsiteY4" fmla="*/ 0 h 189149"/>
                <a:gd name="connsiteX5" fmla="*/ 153930 w 153929"/>
                <a:gd name="connsiteY5" fmla="*/ 76232 h 189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3929" h="189149">
                  <a:moveTo>
                    <a:pt x="153930" y="75972"/>
                  </a:moveTo>
                  <a:lnTo>
                    <a:pt x="39191" y="189150"/>
                  </a:lnTo>
                  <a:lnTo>
                    <a:pt x="25401" y="175100"/>
                  </a:lnTo>
                  <a:cubicBezTo>
                    <a:pt x="-8683" y="140756"/>
                    <a:pt x="-8422" y="85338"/>
                    <a:pt x="25921" y="51515"/>
                  </a:cubicBezTo>
                  <a:lnTo>
                    <a:pt x="78218" y="0"/>
                  </a:lnTo>
                  <a:lnTo>
                    <a:pt x="153930" y="76232"/>
                  </a:lnTo>
                  <a:close/>
                </a:path>
              </a:pathLst>
            </a:custGeom>
            <a:solidFill>
              <a:srgbClr val="E2C39A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8E8616B0-D91D-5945-663B-5D13984F2DBB}"/>
                </a:ext>
              </a:extLst>
            </p:cNvPr>
            <p:cNvSpPr/>
            <p:nvPr/>
          </p:nvSpPr>
          <p:spPr>
            <a:xfrm>
              <a:off x="2520493" y="5012553"/>
              <a:ext cx="153896" cy="190710"/>
            </a:xfrm>
            <a:custGeom>
              <a:avLst/>
              <a:gdLst>
                <a:gd name="connsiteX0" fmla="*/ 153896 w 153896"/>
                <a:gd name="connsiteY0" fmla="*/ 76232 h 190710"/>
                <a:gd name="connsiteX1" fmla="*/ 39677 w 153896"/>
                <a:gd name="connsiteY1" fmla="*/ 190710 h 190710"/>
                <a:gd name="connsiteX2" fmla="*/ 25367 w 153896"/>
                <a:gd name="connsiteY2" fmla="*/ 176140 h 190710"/>
                <a:gd name="connsiteX3" fmla="*/ 25367 w 153896"/>
                <a:gd name="connsiteY3" fmla="*/ 53076 h 190710"/>
                <a:gd name="connsiteX4" fmla="*/ 78184 w 153896"/>
                <a:gd name="connsiteY4" fmla="*/ 0 h 190710"/>
                <a:gd name="connsiteX5" fmla="*/ 153896 w 153896"/>
                <a:gd name="connsiteY5" fmla="*/ 76232 h 190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3896" h="190710">
                  <a:moveTo>
                    <a:pt x="153896" y="76232"/>
                  </a:moveTo>
                  <a:lnTo>
                    <a:pt x="39677" y="190710"/>
                  </a:lnTo>
                  <a:lnTo>
                    <a:pt x="25367" y="176140"/>
                  </a:lnTo>
                  <a:cubicBezTo>
                    <a:pt x="-8456" y="142057"/>
                    <a:pt x="-8456" y="87159"/>
                    <a:pt x="25367" y="53076"/>
                  </a:cubicBezTo>
                  <a:lnTo>
                    <a:pt x="78184" y="0"/>
                  </a:lnTo>
                  <a:lnTo>
                    <a:pt x="153896" y="76232"/>
                  </a:lnTo>
                  <a:close/>
                </a:path>
              </a:pathLst>
            </a:custGeom>
            <a:solidFill>
              <a:srgbClr val="E2C39A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" name="Freihandform: Form 13">
              <a:extLst>
                <a:ext uri="{FF2B5EF4-FFF2-40B4-BE49-F238E27FC236}">
                  <a16:creationId xmlns:a16="http://schemas.microsoft.com/office/drawing/2014/main" id="{34EF8B55-E304-18DA-C2F7-EFB5A0411645}"/>
                </a:ext>
              </a:extLst>
            </p:cNvPr>
            <p:cNvSpPr/>
            <p:nvPr/>
          </p:nvSpPr>
          <p:spPr>
            <a:xfrm>
              <a:off x="2326009" y="4967803"/>
              <a:ext cx="107454" cy="107193"/>
            </a:xfrm>
            <a:custGeom>
              <a:avLst/>
              <a:gdLst>
                <a:gd name="connsiteX0" fmla="*/ 260 w 107454"/>
                <a:gd name="connsiteY0" fmla="*/ 53336 h 107193"/>
                <a:gd name="connsiteX1" fmla="*/ 53597 w 107454"/>
                <a:gd name="connsiteY1" fmla="*/ 107193 h 107193"/>
                <a:gd name="connsiteX2" fmla="*/ 107454 w 107454"/>
                <a:gd name="connsiteY2" fmla="*/ 53857 h 107193"/>
                <a:gd name="connsiteX3" fmla="*/ 53857 w 107454"/>
                <a:gd name="connsiteY3" fmla="*/ 0 h 107193"/>
                <a:gd name="connsiteX4" fmla="*/ 0 w 107454"/>
                <a:gd name="connsiteY4" fmla="*/ 53336 h 107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454" h="107193">
                  <a:moveTo>
                    <a:pt x="260" y="53336"/>
                  </a:moveTo>
                  <a:cubicBezTo>
                    <a:pt x="260" y="82996"/>
                    <a:pt x="24197" y="107193"/>
                    <a:pt x="53597" y="107193"/>
                  </a:cubicBezTo>
                  <a:cubicBezTo>
                    <a:pt x="83258" y="107193"/>
                    <a:pt x="107454" y="83257"/>
                    <a:pt x="107454" y="53857"/>
                  </a:cubicBezTo>
                  <a:cubicBezTo>
                    <a:pt x="107454" y="24196"/>
                    <a:pt x="83518" y="0"/>
                    <a:pt x="53857" y="0"/>
                  </a:cubicBezTo>
                  <a:cubicBezTo>
                    <a:pt x="24197" y="0"/>
                    <a:pt x="260" y="23936"/>
                    <a:pt x="0" y="53336"/>
                  </a:cubicBezTo>
                </a:path>
              </a:pathLst>
            </a:custGeom>
            <a:solidFill>
              <a:srgbClr val="F2DEC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532A3651-B914-D77C-015E-FCCDA4ECB682}"/>
                </a:ext>
              </a:extLst>
            </p:cNvPr>
            <p:cNvSpPr/>
            <p:nvPr/>
          </p:nvSpPr>
          <p:spPr>
            <a:xfrm>
              <a:off x="2539095" y="4924613"/>
              <a:ext cx="108496" cy="419146"/>
            </a:xfrm>
            <a:custGeom>
              <a:avLst/>
              <a:gdLst>
                <a:gd name="connsiteX0" fmla="*/ 1302 w 108496"/>
                <a:gd name="connsiteY0" fmla="*/ 0 h 419146"/>
                <a:gd name="connsiteX1" fmla="*/ 108497 w 108496"/>
                <a:gd name="connsiteY1" fmla="*/ 0 h 419146"/>
                <a:gd name="connsiteX2" fmla="*/ 106675 w 108496"/>
                <a:gd name="connsiteY2" fmla="*/ 419147 h 419146"/>
                <a:gd name="connsiteX3" fmla="*/ 86902 w 108496"/>
                <a:gd name="connsiteY3" fmla="*/ 419147 h 419146"/>
                <a:gd name="connsiteX4" fmla="*/ 1 w 108496"/>
                <a:gd name="connsiteY4" fmla="*/ 331466 h 419146"/>
                <a:gd name="connsiteX5" fmla="*/ 1563 w 108496"/>
                <a:gd name="connsiteY5" fmla="*/ 0 h 419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8496" h="419146">
                  <a:moveTo>
                    <a:pt x="1302" y="0"/>
                  </a:moveTo>
                  <a:lnTo>
                    <a:pt x="108497" y="0"/>
                  </a:lnTo>
                  <a:cubicBezTo>
                    <a:pt x="108497" y="0"/>
                    <a:pt x="106675" y="419147"/>
                    <a:pt x="106675" y="419147"/>
                  </a:cubicBezTo>
                  <a:lnTo>
                    <a:pt x="86902" y="419147"/>
                  </a:lnTo>
                  <a:cubicBezTo>
                    <a:pt x="38508" y="419147"/>
                    <a:pt x="-259" y="379600"/>
                    <a:pt x="1" y="331466"/>
                  </a:cubicBezTo>
                  <a:lnTo>
                    <a:pt x="1563" y="0"/>
                  </a:lnTo>
                  <a:close/>
                </a:path>
              </a:pathLst>
            </a:custGeom>
            <a:solidFill>
              <a:srgbClr val="F2DEC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5D3A0E00-BA39-EAFC-A606-D00D010709B7}"/>
                </a:ext>
              </a:extLst>
            </p:cNvPr>
            <p:cNvSpPr/>
            <p:nvPr/>
          </p:nvSpPr>
          <p:spPr>
            <a:xfrm>
              <a:off x="2614548" y="5180628"/>
              <a:ext cx="66606" cy="66865"/>
            </a:xfrm>
            <a:custGeom>
              <a:avLst/>
              <a:gdLst>
                <a:gd name="connsiteX0" fmla="*/ 66606 w 66606"/>
                <a:gd name="connsiteY0" fmla="*/ 15611 h 66865"/>
                <a:gd name="connsiteX1" fmla="*/ 13790 w 66606"/>
                <a:gd name="connsiteY1" fmla="*/ 66866 h 66865"/>
                <a:gd name="connsiteX2" fmla="*/ 0 w 66606"/>
                <a:gd name="connsiteY2" fmla="*/ 26798 h 66865"/>
                <a:gd name="connsiteX3" fmla="*/ 53857 w 66606"/>
                <a:gd name="connsiteY3" fmla="*/ 0 h 66865"/>
                <a:gd name="connsiteX4" fmla="*/ 66606 w 66606"/>
                <a:gd name="connsiteY4" fmla="*/ 15611 h 66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06" h="66865">
                  <a:moveTo>
                    <a:pt x="66606" y="15611"/>
                  </a:moveTo>
                  <a:lnTo>
                    <a:pt x="13790" y="66866"/>
                  </a:lnTo>
                  <a:lnTo>
                    <a:pt x="0" y="26798"/>
                  </a:lnTo>
                  <a:lnTo>
                    <a:pt x="53857" y="0"/>
                  </a:lnTo>
                  <a:lnTo>
                    <a:pt x="66606" y="15611"/>
                  </a:lnTo>
                  <a:close/>
                </a:path>
              </a:pathLst>
            </a:custGeom>
            <a:solidFill>
              <a:srgbClr val="F2DEC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1D997F7A-5D51-B92B-CF18-65678E16EF6F}"/>
                </a:ext>
              </a:extLst>
            </p:cNvPr>
            <p:cNvSpPr/>
            <p:nvPr/>
          </p:nvSpPr>
          <p:spPr>
            <a:xfrm>
              <a:off x="2673869" y="5091647"/>
              <a:ext cx="66345" cy="66865"/>
            </a:xfrm>
            <a:custGeom>
              <a:avLst/>
              <a:gdLst>
                <a:gd name="connsiteX0" fmla="*/ 66346 w 66345"/>
                <a:gd name="connsiteY0" fmla="*/ 15611 h 66865"/>
                <a:gd name="connsiteX1" fmla="*/ 13790 w 66345"/>
                <a:gd name="connsiteY1" fmla="*/ 66866 h 66865"/>
                <a:gd name="connsiteX2" fmla="*/ 0 w 66345"/>
                <a:gd name="connsiteY2" fmla="*/ 26798 h 66865"/>
                <a:gd name="connsiteX3" fmla="*/ 53857 w 66345"/>
                <a:gd name="connsiteY3" fmla="*/ 0 h 66865"/>
                <a:gd name="connsiteX4" fmla="*/ 66346 w 66345"/>
                <a:gd name="connsiteY4" fmla="*/ 15611 h 66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345" h="66865">
                  <a:moveTo>
                    <a:pt x="66346" y="15611"/>
                  </a:moveTo>
                  <a:lnTo>
                    <a:pt x="13790" y="66866"/>
                  </a:lnTo>
                  <a:lnTo>
                    <a:pt x="0" y="26798"/>
                  </a:lnTo>
                  <a:lnTo>
                    <a:pt x="53857" y="0"/>
                  </a:lnTo>
                  <a:lnTo>
                    <a:pt x="66346" y="15611"/>
                  </a:lnTo>
                  <a:close/>
                </a:path>
              </a:pathLst>
            </a:custGeom>
            <a:solidFill>
              <a:srgbClr val="F2DEC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43795D70-519C-4890-9B61-0C8338C1FA03}"/>
                </a:ext>
              </a:extLst>
            </p:cNvPr>
            <p:cNvSpPr/>
            <p:nvPr/>
          </p:nvSpPr>
          <p:spPr>
            <a:xfrm>
              <a:off x="2594515" y="5100233"/>
              <a:ext cx="107454" cy="107193"/>
            </a:xfrm>
            <a:custGeom>
              <a:avLst/>
              <a:gdLst>
                <a:gd name="connsiteX0" fmla="*/ 260 w 107454"/>
                <a:gd name="connsiteY0" fmla="*/ 53337 h 107193"/>
                <a:gd name="connsiteX1" fmla="*/ 53597 w 107454"/>
                <a:gd name="connsiteY1" fmla="*/ 107193 h 107193"/>
                <a:gd name="connsiteX2" fmla="*/ 107454 w 107454"/>
                <a:gd name="connsiteY2" fmla="*/ 53857 h 107193"/>
                <a:gd name="connsiteX3" fmla="*/ 53857 w 107454"/>
                <a:gd name="connsiteY3" fmla="*/ 0 h 107193"/>
                <a:gd name="connsiteX4" fmla="*/ 0 w 107454"/>
                <a:gd name="connsiteY4" fmla="*/ 53337 h 107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454" h="107193">
                  <a:moveTo>
                    <a:pt x="260" y="53337"/>
                  </a:moveTo>
                  <a:cubicBezTo>
                    <a:pt x="260" y="82997"/>
                    <a:pt x="24197" y="107193"/>
                    <a:pt x="53597" y="107193"/>
                  </a:cubicBezTo>
                  <a:cubicBezTo>
                    <a:pt x="83258" y="107193"/>
                    <a:pt x="107454" y="83257"/>
                    <a:pt x="107454" y="53857"/>
                  </a:cubicBezTo>
                  <a:cubicBezTo>
                    <a:pt x="107454" y="24196"/>
                    <a:pt x="83518" y="0"/>
                    <a:pt x="53857" y="0"/>
                  </a:cubicBezTo>
                  <a:cubicBezTo>
                    <a:pt x="24197" y="0"/>
                    <a:pt x="260" y="23936"/>
                    <a:pt x="0" y="53337"/>
                  </a:cubicBezTo>
                </a:path>
              </a:pathLst>
            </a:custGeom>
            <a:solidFill>
              <a:srgbClr val="F2DEC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E10D1A26-DDE7-495E-9278-F36804862041}"/>
                </a:ext>
              </a:extLst>
            </p:cNvPr>
            <p:cNvSpPr/>
            <p:nvPr/>
          </p:nvSpPr>
          <p:spPr>
            <a:xfrm rot="16211400">
              <a:off x="2487104" y="4914696"/>
              <a:ext cx="321842" cy="107193"/>
            </a:xfrm>
            <a:custGeom>
              <a:avLst/>
              <a:gdLst>
                <a:gd name="connsiteX0" fmla="*/ 0 w 321842"/>
                <a:gd name="connsiteY0" fmla="*/ 0 h 107193"/>
                <a:gd name="connsiteX1" fmla="*/ 321843 w 321842"/>
                <a:gd name="connsiteY1" fmla="*/ 0 h 107193"/>
                <a:gd name="connsiteX2" fmla="*/ 321843 w 321842"/>
                <a:gd name="connsiteY2" fmla="*/ 107193 h 107193"/>
                <a:gd name="connsiteX3" fmla="*/ 0 w 321842"/>
                <a:gd name="connsiteY3" fmla="*/ 107193 h 107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1842" h="107193">
                  <a:moveTo>
                    <a:pt x="0" y="0"/>
                  </a:moveTo>
                  <a:lnTo>
                    <a:pt x="321843" y="0"/>
                  </a:lnTo>
                  <a:lnTo>
                    <a:pt x="321843" y="107193"/>
                  </a:lnTo>
                  <a:lnTo>
                    <a:pt x="0" y="107193"/>
                  </a:lnTo>
                  <a:close/>
                </a:path>
              </a:pathLst>
            </a:custGeom>
            <a:solidFill>
              <a:srgbClr val="F2DEC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" name="Freihandform: Form 19">
              <a:extLst>
                <a:ext uri="{FF2B5EF4-FFF2-40B4-BE49-F238E27FC236}">
                  <a16:creationId xmlns:a16="http://schemas.microsoft.com/office/drawing/2014/main" id="{EF0C3C95-E63F-1260-19E3-DBC366EF6826}"/>
                </a:ext>
              </a:extLst>
            </p:cNvPr>
            <p:cNvSpPr/>
            <p:nvPr/>
          </p:nvSpPr>
          <p:spPr>
            <a:xfrm>
              <a:off x="2647851" y="5017236"/>
              <a:ext cx="107454" cy="107193"/>
            </a:xfrm>
            <a:custGeom>
              <a:avLst/>
              <a:gdLst>
                <a:gd name="connsiteX0" fmla="*/ 260 w 107454"/>
                <a:gd name="connsiteY0" fmla="*/ 53337 h 107193"/>
                <a:gd name="connsiteX1" fmla="*/ 53597 w 107454"/>
                <a:gd name="connsiteY1" fmla="*/ 107193 h 107193"/>
                <a:gd name="connsiteX2" fmla="*/ 107454 w 107454"/>
                <a:gd name="connsiteY2" fmla="*/ 53857 h 107193"/>
                <a:gd name="connsiteX3" fmla="*/ 53857 w 107454"/>
                <a:gd name="connsiteY3" fmla="*/ 0 h 107193"/>
                <a:gd name="connsiteX4" fmla="*/ 0 w 107454"/>
                <a:gd name="connsiteY4" fmla="*/ 53337 h 107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454" h="107193">
                  <a:moveTo>
                    <a:pt x="260" y="53337"/>
                  </a:moveTo>
                  <a:cubicBezTo>
                    <a:pt x="260" y="82997"/>
                    <a:pt x="24197" y="107193"/>
                    <a:pt x="53597" y="107193"/>
                  </a:cubicBezTo>
                  <a:cubicBezTo>
                    <a:pt x="83258" y="107193"/>
                    <a:pt x="107454" y="83257"/>
                    <a:pt x="107454" y="53857"/>
                  </a:cubicBezTo>
                  <a:cubicBezTo>
                    <a:pt x="107454" y="24196"/>
                    <a:pt x="83518" y="0"/>
                    <a:pt x="53857" y="0"/>
                  </a:cubicBezTo>
                  <a:cubicBezTo>
                    <a:pt x="24197" y="0"/>
                    <a:pt x="260" y="23936"/>
                    <a:pt x="0" y="53337"/>
                  </a:cubicBezTo>
                </a:path>
              </a:pathLst>
            </a:custGeom>
            <a:solidFill>
              <a:srgbClr val="F2DEC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9989587D-E6A0-B5C9-129C-6887AD3143C7}"/>
                </a:ext>
              </a:extLst>
            </p:cNvPr>
            <p:cNvSpPr/>
            <p:nvPr/>
          </p:nvSpPr>
          <p:spPr>
            <a:xfrm>
              <a:off x="2647851" y="4561925"/>
              <a:ext cx="108495" cy="514111"/>
            </a:xfrm>
            <a:custGeom>
              <a:avLst/>
              <a:gdLst>
                <a:gd name="connsiteX0" fmla="*/ 108495 w 108495"/>
                <a:gd name="connsiteY0" fmla="*/ 0 h 514111"/>
                <a:gd name="connsiteX1" fmla="*/ 107454 w 108495"/>
                <a:gd name="connsiteY1" fmla="*/ 514112 h 514111"/>
                <a:gd name="connsiteX2" fmla="*/ 0 w 108495"/>
                <a:gd name="connsiteY2" fmla="*/ 513852 h 514111"/>
                <a:gd name="connsiteX3" fmla="*/ 1041 w 108495"/>
                <a:gd name="connsiteY3" fmla="*/ 0 h 5141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495" h="514111">
                  <a:moveTo>
                    <a:pt x="108495" y="0"/>
                  </a:moveTo>
                  <a:lnTo>
                    <a:pt x="107454" y="514112"/>
                  </a:lnTo>
                  <a:lnTo>
                    <a:pt x="0" y="513852"/>
                  </a:lnTo>
                  <a:lnTo>
                    <a:pt x="1041" y="0"/>
                  </a:lnTo>
                </a:path>
              </a:pathLst>
            </a:custGeom>
            <a:solidFill>
              <a:srgbClr val="F2DEC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8C5BCFD7-03DF-0590-F5D2-9154B318D0DC}"/>
                </a:ext>
              </a:extLst>
            </p:cNvPr>
            <p:cNvSpPr/>
            <p:nvPr/>
          </p:nvSpPr>
          <p:spPr>
            <a:xfrm>
              <a:off x="2325488" y="4561925"/>
              <a:ext cx="430858" cy="460514"/>
            </a:xfrm>
            <a:custGeom>
              <a:avLst/>
              <a:gdLst>
                <a:gd name="connsiteX0" fmla="*/ 430858 w 430858"/>
                <a:gd name="connsiteY0" fmla="*/ 0 h 460514"/>
                <a:gd name="connsiteX1" fmla="*/ 428777 w 430858"/>
                <a:gd name="connsiteY1" fmla="*/ 460515 h 460514"/>
                <a:gd name="connsiteX2" fmla="*/ 215429 w 430858"/>
                <a:gd name="connsiteY2" fmla="*/ 406138 h 460514"/>
                <a:gd name="connsiteX3" fmla="*/ 161832 w 430858"/>
                <a:gd name="connsiteY3" fmla="*/ 352281 h 460514"/>
                <a:gd name="connsiteX4" fmla="*/ 107975 w 430858"/>
                <a:gd name="connsiteY4" fmla="*/ 405878 h 460514"/>
                <a:gd name="connsiteX5" fmla="*/ 107975 w 430858"/>
                <a:gd name="connsiteY5" fmla="*/ 459474 h 460514"/>
                <a:gd name="connsiteX6" fmla="*/ 520 w 430858"/>
                <a:gd name="connsiteY6" fmla="*/ 459214 h 460514"/>
                <a:gd name="connsiteX7" fmla="*/ 0 w 430858"/>
                <a:gd name="connsiteY7" fmla="*/ 175100 h 460514"/>
                <a:gd name="connsiteX8" fmla="*/ 174581 w 430858"/>
                <a:gd name="connsiteY8" fmla="*/ 260 h 460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0858" h="460514">
                  <a:moveTo>
                    <a:pt x="430858" y="0"/>
                  </a:moveTo>
                  <a:lnTo>
                    <a:pt x="428777" y="460515"/>
                  </a:lnTo>
                  <a:lnTo>
                    <a:pt x="215429" y="406138"/>
                  </a:lnTo>
                  <a:cubicBezTo>
                    <a:pt x="215429" y="376478"/>
                    <a:pt x="191493" y="352541"/>
                    <a:pt x="161832" y="352281"/>
                  </a:cubicBezTo>
                  <a:cubicBezTo>
                    <a:pt x="132172" y="352281"/>
                    <a:pt x="107975" y="376218"/>
                    <a:pt x="107975" y="405878"/>
                  </a:cubicBezTo>
                  <a:lnTo>
                    <a:pt x="107975" y="459474"/>
                  </a:lnTo>
                  <a:cubicBezTo>
                    <a:pt x="107975" y="459474"/>
                    <a:pt x="520" y="459214"/>
                    <a:pt x="520" y="459214"/>
                  </a:cubicBezTo>
                  <a:lnTo>
                    <a:pt x="0" y="175100"/>
                  </a:lnTo>
                  <a:cubicBezTo>
                    <a:pt x="0" y="78574"/>
                    <a:pt x="78054" y="260"/>
                    <a:pt x="174581" y="260"/>
                  </a:cubicBezTo>
                </a:path>
              </a:pathLst>
            </a:custGeom>
            <a:solidFill>
              <a:srgbClr val="F2DEC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BAC6A95E-D199-F421-01D5-905CE1D9D411}"/>
                </a:ext>
              </a:extLst>
            </p:cNvPr>
            <p:cNvSpPr/>
            <p:nvPr/>
          </p:nvSpPr>
          <p:spPr>
            <a:xfrm>
              <a:off x="2343701" y="4539809"/>
              <a:ext cx="412645" cy="75191"/>
            </a:xfrm>
            <a:custGeom>
              <a:avLst/>
              <a:gdLst>
                <a:gd name="connsiteX0" fmla="*/ 412646 w 412645"/>
                <a:gd name="connsiteY0" fmla="*/ 0 h 75191"/>
                <a:gd name="connsiteX1" fmla="*/ 412646 w 412645"/>
                <a:gd name="connsiteY1" fmla="*/ 75191 h 75191"/>
                <a:gd name="connsiteX2" fmla="*/ 0 w 412645"/>
                <a:gd name="connsiteY2" fmla="*/ 75191 h 75191"/>
                <a:gd name="connsiteX3" fmla="*/ 0 w 412645"/>
                <a:gd name="connsiteY3" fmla="*/ 0 h 75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2645" h="75191">
                  <a:moveTo>
                    <a:pt x="412646" y="0"/>
                  </a:moveTo>
                  <a:lnTo>
                    <a:pt x="412646" y="75191"/>
                  </a:lnTo>
                  <a:lnTo>
                    <a:pt x="0" y="75191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/>
            </a:p>
          </p:txBody>
        </p:sp>
        <p:sp>
          <p:nvSpPr>
            <p:cNvPr id="24" name="Freihandform: Form 23">
              <a:extLst>
                <a:ext uri="{FF2B5EF4-FFF2-40B4-BE49-F238E27FC236}">
                  <a16:creationId xmlns:a16="http://schemas.microsoft.com/office/drawing/2014/main" id="{BFBBB060-95A8-97D5-8D99-FEFCBCDF29D5}"/>
                </a:ext>
              </a:extLst>
            </p:cNvPr>
            <p:cNvSpPr/>
            <p:nvPr/>
          </p:nvSpPr>
          <p:spPr>
            <a:xfrm>
              <a:off x="325031" y="3438997"/>
              <a:ext cx="1172304" cy="4714227"/>
            </a:xfrm>
            <a:custGeom>
              <a:avLst/>
              <a:gdLst>
                <a:gd name="connsiteX0" fmla="*/ 621763 w 1172304"/>
                <a:gd name="connsiteY0" fmla="*/ 4712864 h 4714227"/>
                <a:gd name="connsiteX1" fmla="*/ 56392 w 1172304"/>
                <a:gd name="connsiteY1" fmla="*/ 4599687 h 4714227"/>
                <a:gd name="connsiteX2" fmla="*/ 193 w 1172304"/>
                <a:gd name="connsiteY2" fmla="*/ 4525536 h 4714227"/>
                <a:gd name="connsiteX3" fmla="*/ 335305 w 1172304"/>
                <a:gd name="connsiteY3" fmla="*/ 0 h 4714227"/>
                <a:gd name="connsiteX4" fmla="*/ 1172304 w 1172304"/>
                <a:gd name="connsiteY4" fmla="*/ 0 h 4714227"/>
                <a:gd name="connsiteX5" fmla="*/ 705541 w 1172304"/>
                <a:gd name="connsiteY5" fmla="*/ 4650942 h 4714227"/>
                <a:gd name="connsiteX6" fmla="*/ 622023 w 1172304"/>
                <a:gd name="connsiteY6" fmla="*/ 4712864 h 471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72304" h="4714227">
                  <a:moveTo>
                    <a:pt x="621763" y="4712864"/>
                  </a:moveTo>
                  <a:lnTo>
                    <a:pt x="56392" y="4599687"/>
                  </a:lnTo>
                  <a:cubicBezTo>
                    <a:pt x="21528" y="4592662"/>
                    <a:pt x="-2409" y="4560921"/>
                    <a:pt x="193" y="4525536"/>
                  </a:cubicBezTo>
                  <a:lnTo>
                    <a:pt x="335305" y="0"/>
                  </a:lnTo>
                  <a:lnTo>
                    <a:pt x="1172304" y="0"/>
                  </a:lnTo>
                  <a:lnTo>
                    <a:pt x="705541" y="4650942"/>
                  </a:lnTo>
                  <a:cubicBezTo>
                    <a:pt x="701378" y="4692310"/>
                    <a:pt x="662612" y="4720930"/>
                    <a:pt x="622023" y="4712864"/>
                  </a:cubicBezTo>
                </a:path>
              </a:pathLst>
            </a:custGeom>
            <a:solidFill>
              <a:srgbClr val="CBA677"/>
            </a:solidFill>
            <a:ln w="0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/>
            </a:p>
          </p:txBody>
        </p:sp>
        <p:sp>
          <p:nvSpPr>
            <p:cNvPr id="25" name="Freihandform: Form 24">
              <a:extLst>
                <a:ext uri="{FF2B5EF4-FFF2-40B4-BE49-F238E27FC236}">
                  <a16:creationId xmlns:a16="http://schemas.microsoft.com/office/drawing/2014/main" id="{B72A6CA7-408F-52B0-55BB-E7EC57BD8246}"/>
                </a:ext>
              </a:extLst>
            </p:cNvPr>
            <p:cNvSpPr/>
            <p:nvPr/>
          </p:nvSpPr>
          <p:spPr>
            <a:xfrm>
              <a:off x="1154939" y="3438997"/>
              <a:ext cx="1172304" cy="4714227"/>
            </a:xfrm>
            <a:custGeom>
              <a:avLst/>
              <a:gdLst>
                <a:gd name="connsiteX0" fmla="*/ 550541 w 1172304"/>
                <a:gd name="connsiteY0" fmla="*/ 4712864 h 4714227"/>
                <a:gd name="connsiteX1" fmla="*/ 1115912 w 1172304"/>
                <a:gd name="connsiteY1" fmla="*/ 4599687 h 4714227"/>
                <a:gd name="connsiteX2" fmla="*/ 1172111 w 1172304"/>
                <a:gd name="connsiteY2" fmla="*/ 4525536 h 4714227"/>
                <a:gd name="connsiteX3" fmla="*/ 836999 w 1172304"/>
                <a:gd name="connsiteY3" fmla="*/ 0 h 4714227"/>
                <a:gd name="connsiteX4" fmla="*/ 0 w 1172304"/>
                <a:gd name="connsiteY4" fmla="*/ 0 h 4714227"/>
                <a:gd name="connsiteX5" fmla="*/ 466763 w 1172304"/>
                <a:gd name="connsiteY5" fmla="*/ 4650942 h 4714227"/>
                <a:gd name="connsiteX6" fmla="*/ 550281 w 1172304"/>
                <a:gd name="connsiteY6" fmla="*/ 4712864 h 4714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72304" h="4714227">
                  <a:moveTo>
                    <a:pt x="550541" y="4712864"/>
                  </a:moveTo>
                  <a:lnTo>
                    <a:pt x="1115912" y="4599687"/>
                  </a:lnTo>
                  <a:cubicBezTo>
                    <a:pt x="1150776" y="4592662"/>
                    <a:pt x="1174713" y="4560921"/>
                    <a:pt x="1172111" y="4525536"/>
                  </a:cubicBezTo>
                  <a:lnTo>
                    <a:pt x="836999" y="0"/>
                  </a:lnTo>
                  <a:lnTo>
                    <a:pt x="0" y="0"/>
                  </a:lnTo>
                  <a:lnTo>
                    <a:pt x="466763" y="4650942"/>
                  </a:lnTo>
                  <a:cubicBezTo>
                    <a:pt x="470926" y="4692310"/>
                    <a:pt x="509693" y="4720930"/>
                    <a:pt x="550281" y="4712864"/>
                  </a:cubicBezTo>
                </a:path>
              </a:pathLst>
            </a:custGeom>
            <a:solidFill>
              <a:srgbClr val="CBA677"/>
            </a:solidFill>
            <a:ln w="0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/>
            </a:p>
          </p:txBody>
        </p:sp>
        <p:sp>
          <p:nvSpPr>
            <p:cNvPr id="26" name="Freihandform: Form 25">
              <a:extLst>
                <a:ext uri="{FF2B5EF4-FFF2-40B4-BE49-F238E27FC236}">
                  <a16:creationId xmlns:a16="http://schemas.microsoft.com/office/drawing/2014/main" id="{61D65F90-0810-6E13-902E-8E7F7EC8C840}"/>
                </a:ext>
              </a:extLst>
            </p:cNvPr>
            <p:cNvSpPr/>
            <p:nvPr/>
          </p:nvSpPr>
          <p:spPr>
            <a:xfrm>
              <a:off x="610122" y="1807941"/>
              <a:ext cx="1441397" cy="2352277"/>
            </a:xfrm>
            <a:custGeom>
              <a:avLst/>
              <a:gdLst>
                <a:gd name="connsiteX0" fmla="*/ 1441397 w 1441397"/>
                <a:gd name="connsiteY0" fmla="*/ 2291127 h 2352277"/>
                <a:gd name="connsiteX1" fmla="*/ 1439576 w 1441397"/>
                <a:gd name="connsiteY1" fmla="*/ 2305957 h 2352277"/>
                <a:gd name="connsiteX2" fmla="*/ 1382336 w 1441397"/>
                <a:gd name="connsiteY2" fmla="*/ 2350968 h 2352277"/>
                <a:gd name="connsiteX3" fmla="*/ 1122417 w 1441397"/>
                <a:gd name="connsiteY3" fmla="*/ 2350968 h 2352277"/>
                <a:gd name="connsiteX4" fmla="*/ 1118254 w 1441397"/>
                <a:gd name="connsiteY4" fmla="*/ 2351229 h 2352277"/>
                <a:gd name="connsiteX5" fmla="*/ 812282 w 1441397"/>
                <a:gd name="connsiteY5" fmla="*/ 2351229 h 2352277"/>
                <a:gd name="connsiteX6" fmla="*/ 754782 w 1441397"/>
                <a:gd name="connsiteY6" fmla="*/ 2351749 h 2352277"/>
                <a:gd name="connsiteX7" fmla="*/ 627034 w 1441397"/>
                <a:gd name="connsiteY7" fmla="*/ 2351749 h 2352277"/>
                <a:gd name="connsiteX8" fmla="*/ 337714 w 1441397"/>
                <a:gd name="connsiteY8" fmla="*/ 2352269 h 2352277"/>
                <a:gd name="connsiteX9" fmla="*/ 59061 w 1441397"/>
                <a:gd name="connsiteY9" fmla="*/ 2352269 h 2352277"/>
                <a:gd name="connsiteX10" fmla="*/ 260 w 1441397"/>
                <a:gd name="connsiteY10" fmla="*/ 2299713 h 2352277"/>
                <a:gd name="connsiteX11" fmla="*/ 260 w 1441397"/>
                <a:gd name="connsiteY11" fmla="*/ 2298933 h 2352277"/>
                <a:gd name="connsiteX12" fmla="*/ 0 w 1441397"/>
                <a:gd name="connsiteY12" fmla="*/ 2293729 h 2352277"/>
                <a:gd name="connsiteX13" fmla="*/ 201640 w 1441397"/>
                <a:gd name="connsiteY13" fmla="*/ 0 h 2352277"/>
                <a:gd name="connsiteX14" fmla="*/ 1325097 w 1441397"/>
                <a:gd name="connsiteY14" fmla="*/ 0 h 2352277"/>
                <a:gd name="connsiteX15" fmla="*/ 1441397 w 1441397"/>
                <a:gd name="connsiteY15" fmla="*/ 2291127 h 23522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441397" h="2352277">
                  <a:moveTo>
                    <a:pt x="1441397" y="2291127"/>
                  </a:moveTo>
                  <a:cubicBezTo>
                    <a:pt x="1441397" y="2296331"/>
                    <a:pt x="1440877" y="2301274"/>
                    <a:pt x="1439576" y="2305957"/>
                  </a:cubicBezTo>
                  <a:cubicBezTo>
                    <a:pt x="1433332" y="2331715"/>
                    <a:pt x="1410176" y="2350968"/>
                    <a:pt x="1382336" y="2350968"/>
                  </a:cubicBezTo>
                  <a:lnTo>
                    <a:pt x="1122417" y="2350968"/>
                  </a:lnTo>
                  <a:cubicBezTo>
                    <a:pt x="1122417" y="2350968"/>
                    <a:pt x="1118254" y="2351229"/>
                    <a:pt x="1118254" y="2351229"/>
                  </a:cubicBezTo>
                  <a:lnTo>
                    <a:pt x="812282" y="2351229"/>
                  </a:lnTo>
                  <a:cubicBezTo>
                    <a:pt x="812282" y="2351229"/>
                    <a:pt x="754782" y="2351749"/>
                    <a:pt x="754782" y="2351749"/>
                  </a:cubicBezTo>
                  <a:lnTo>
                    <a:pt x="627034" y="2351749"/>
                  </a:lnTo>
                  <a:cubicBezTo>
                    <a:pt x="627034" y="2351749"/>
                    <a:pt x="337714" y="2352269"/>
                    <a:pt x="337714" y="2352269"/>
                  </a:cubicBezTo>
                  <a:lnTo>
                    <a:pt x="59061" y="2352269"/>
                  </a:lnTo>
                  <a:cubicBezTo>
                    <a:pt x="28620" y="2352790"/>
                    <a:pt x="3122" y="2329373"/>
                    <a:pt x="260" y="2299713"/>
                  </a:cubicBezTo>
                  <a:lnTo>
                    <a:pt x="260" y="2298933"/>
                  </a:lnTo>
                  <a:cubicBezTo>
                    <a:pt x="0" y="2297111"/>
                    <a:pt x="0" y="2295550"/>
                    <a:pt x="0" y="2293729"/>
                  </a:cubicBezTo>
                  <a:lnTo>
                    <a:pt x="201640" y="0"/>
                  </a:lnTo>
                  <a:lnTo>
                    <a:pt x="1325097" y="0"/>
                  </a:lnTo>
                  <a:lnTo>
                    <a:pt x="1441397" y="2291127"/>
                  </a:lnTo>
                  <a:close/>
                </a:path>
              </a:pathLst>
            </a:custGeom>
            <a:solidFill>
              <a:srgbClr val="F2F2F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7" name="Freihandform: Form 26">
              <a:extLst>
                <a:ext uri="{FF2B5EF4-FFF2-40B4-BE49-F238E27FC236}">
                  <a16:creationId xmlns:a16="http://schemas.microsoft.com/office/drawing/2014/main" id="{2F8034F6-ABEC-A662-E89D-6ADC5FA60D0D}"/>
                </a:ext>
              </a:extLst>
            </p:cNvPr>
            <p:cNvSpPr/>
            <p:nvPr/>
          </p:nvSpPr>
          <p:spPr>
            <a:xfrm>
              <a:off x="512796" y="1806640"/>
              <a:ext cx="621328" cy="2498749"/>
            </a:xfrm>
            <a:custGeom>
              <a:avLst/>
              <a:gdLst>
                <a:gd name="connsiteX0" fmla="*/ 621329 w 621328"/>
                <a:gd name="connsiteY0" fmla="*/ 0 h 2498749"/>
                <a:gd name="connsiteX1" fmla="*/ 490458 w 621328"/>
                <a:gd name="connsiteY1" fmla="*/ 2293729 h 2498749"/>
                <a:gd name="connsiteX2" fmla="*/ 480571 w 621328"/>
                <a:gd name="connsiteY2" fmla="*/ 2352269 h 2498749"/>
                <a:gd name="connsiteX3" fmla="*/ 477189 w 621328"/>
                <a:gd name="connsiteY3" fmla="*/ 2361896 h 2498749"/>
                <a:gd name="connsiteX4" fmla="*/ 279972 w 621328"/>
                <a:gd name="connsiteY4" fmla="*/ 2498749 h 2498749"/>
                <a:gd name="connsiteX5" fmla="*/ 70267 w 621328"/>
                <a:gd name="connsiteY5" fmla="*/ 2498749 h 2498749"/>
                <a:gd name="connsiteX6" fmla="*/ 279 w 621328"/>
                <a:gd name="connsiteY6" fmla="*/ 2422257 h 2498749"/>
                <a:gd name="connsiteX7" fmla="*/ 162631 w 621328"/>
                <a:gd name="connsiteY7" fmla="*/ 0 h 2498749"/>
                <a:gd name="connsiteX8" fmla="*/ 621329 w 621328"/>
                <a:gd name="connsiteY8" fmla="*/ 0 h 2498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1328" h="2498749">
                  <a:moveTo>
                    <a:pt x="621329" y="0"/>
                  </a:moveTo>
                  <a:lnTo>
                    <a:pt x="490458" y="2293729"/>
                  </a:lnTo>
                  <a:cubicBezTo>
                    <a:pt x="489938" y="2314023"/>
                    <a:pt x="486295" y="2333797"/>
                    <a:pt x="480571" y="2352269"/>
                  </a:cubicBezTo>
                  <a:cubicBezTo>
                    <a:pt x="479530" y="2355652"/>
                    <a:pt x="478490" y="2358774"/>
                    <a:pt x="477189" y="2361896"/>
                  </a:cubicBezTo>
                  <a:cubicBezTo>
                    <a:pt x="447268" y="2442031"/>
                    <a:pt x="369995" y="2498749"/>
                    <a:pt x="279972" y="2498749"/>
                  </a:cubicBezTo>
                  <a:lnTo>
                    <a:pt x="70267" y="2498749"/>
                  </a:lnTo>
                  <a:cubicBezTo>
                    <a:pt x="29159" y="2498749"/>
                    <a:pt x="-3364" y="2463365"/>
                    <a:pt x="279" y="2422257"/>
                  </a:cubicBezTo>
                  <a:lnTo>
                    <a:pt x="162631" y="0"/>
                  </a:lnTo>
                  <a:lnTo>
                    <a:pt x="621329" y="0"/>
                  </a:lnTo>
                  <a:close/>
                </a:path>
              </a:pathLst>
            </a:custGeom>
            <a:solidFill>
              <a:srgbClr val="212A5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8B842E8C-51AA-747F-9971-12F3AC74776A}"/>
                </a:ext>
              </a:extLst>
            </p:cNvPr>
            <p:cNvSpPr/>
            <p:nvPr/>
          </p:nvSpPr>
          <p:spPr>
            <a:xfrm>
              <a:off x="1616758" y="1806640"/>
              <a:ext cx="621367" cy="2498749"/>
            </a:xfrm>
            <a:custGeom>
              <a:avLst/>
              <a:gdLst>
                <a:gd name="connsiteX0" fmla="*/ 260 w 621367"/>
                <a:gd name="connsiteY0" fmla="*/ 0 h 2498749"/>
                <a:gd name="connsiteX1" fmla="*/ 131131 w 621367"/>
                <a:gd name="connsiteY1" fmla="*/ 2293729 h 2498749"/>
                <a:gd name="connsiteX2" fmla="*/ 141018 w 621367"/>
                <a:gd name="connsiteY2" fmla="*/ 2352269 h 2498749"/>
                <a:gd name="connsiteX3" fmla="*/ 144400 w 621367"/>
                <a:gd name="connsiteY3" fmla="*/ 2361896 h 2498749"/>
                <a:gd name="connsiteX4" fmla="*/ 341616 w 621367"/>
                <a:gd name="connsiteY4" fmla="*/ 2498749 h 2498749"/>
                <a:gd name="connsiteX5" fmla="*/ 551322 w 621367"/>
                <a:gd name="connsiteY5" fmla="*/ 2498749 h 2498749"/>
                <a:gd name="connsiteX6" fmla="*/ 621050 w 621367"/>
                <a:gd name="connsiteY6" fmla="*/ 2422257 h 2498749"/>
                <a:gd name="connsiteX7" fmla="*/ 458697 w 621367"/>
                <a:gd name="connsiteY7" fmla="*/ 0 h 2498749"/>
                <a:gd name="connsiteX8" fmla="*/ 0 w 621367"/>
                <a:gd name="connsiteY8" fmla="*/ 0 h 24987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21367" h="2498749">
                  <a:moveTo>
                    <a:pt x="260" y="0"/>
                  </a:moveTo>
                  <a:lnTo>
                    <a:pt x="131131" y="2293729"/>
                  </a:lnTo>
                  <a:cubicBezTo>
                    <a:pt x="131651" y="2314023"/>
                    <a:pt x="135033" y="2333797"/>
                    <a:pt x="141018" y="2352269"/>
                  </a:cubicBezTo>
                  <a:cubicBezTo>
                    <a:pt x="142058" y="2355652"/>
                    <a:pt x="143099" y="2358774"/>
                    <a:pt x="144400" y="2361896"/>
                  </a:cubicBezTo>
                  <a:cubicBezTo>
                    <a:pt x="174321" y="2442031"/>
                    <a:pt x="251594" y="2498749"/>
                    <a:pt x="341616" y="2498749"/>
                  </a:cubicBezTo>
                  <a:lnTo>
                    <a:pt x="551322" y="2498749"/>
                  </a:lnTo>
                  <a:cubicBezTo>
                    <a:pt x="592430" y="2498749"/>
                    <a:pt x="624953" y="2463365"/>
                    <a:pt x="621050" y="2422257"/>
                  </a:cubicBezTo>
                  <a:lnTo>
                    <a:pt x="45869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12A5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5C6D0BA7-EFE2-D267-B76D-605930B33E84}"/>
                </a:ext>
              </a:extLst>
            </p:cNvPr>
            <p:cNvSpPr/>
            <p:nvPr/>
          </p:nvSpPr>
          <p:spPr>
            <a:xfrm>
              <a:off x="1618059" y="1807681"/>
              <a:ext cx="280213" cy="1735126"/>
            </a:xfrm>
            <a:custGeom>
              <a:avLst/>
              <a:gdLst>
                <a:gd name="connsiteX0" fmla="*/ 156628 w 280213"/>
                <a:gd name="connsiteY0" fmla="*/ 0 h 1735126"/>
                <a:gd name="connsiteX1" fmla="*/ 261221 w 280213"/>
                <a:gd name="connsiteY1" fmla="*/ 187849 h 1735126"/>
                <a:gd name="connsiteX2" fmla="*/ 200078 w 280213"/>
                <a:gd name="connsiteY2" fmla="*/ 283074 h 1735126"/>
                <a:gd name="connsiteX3" fmla="*/ 280214 w 280213"/>
                <a:gd name="connsiteY3" fmla="*/ 364249 h 1735126"/>
                <a:gd name="connsiteX4" fmla="*/ 191753 w 280213"/>
                <a:gd name="connsiteY4" fmla="*/ 1318842 h 1735126"/>
                <a:gd name="connsiteX5" fmla="*/ 99129 w 280213"/>
                <a:gd name="connsiteY5" fmla="*/ 1735127 h 1735126"/>
                <a:gd name="connsiteX6" fmla="*/ 0 w 280213"/>
                <a:gd name="connsiteY6" fmla="*/ 260 h 1735126"/>
                <a:gd name="connsiteX7" fmla="*/ 156889 w 280213"/>
                <a:gd name="connsiteY7" fmla="*/ 260 h 1735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213" h="1735126">
                  <a:moveTo>
                    <a:pt x="156628" y="0"/>
                  </a:moveTo>
                  <a:lnTo>
                    <a:pt x="261221" y="187849"/>
                  </a:lnTo>
                  <a:lnTo>
                    <a:pt x="200078" y="283074"/>
                  </a:lnTo>
                  <a:lnTo>
                    <a:pt x="280214" y="364249"/>
                  </a:lnTo>
                  <a:cubicBezTo>
                    <a:pt x="280214" y="364249"/>
                    <a:pt x="228958" y="1082080"/>
                    <a:pt x="191753" y="1318842"/>
                  </a:cubicBezTo>
                  <a:cubicBezTo>
                    <a:pt x="175101" y="1424214"/>
                    <a:pt x="99129" y="1735127"/>
                    <a:pt x="99129" y="1735127"/>
                  </a:cubicBezTo>
                  <a:lnTo>
                    <a:pt x="0" y="260"/>
                  </a:lnTo>
                  <a:lnTo>
                    <a:pt x="156889" y="260"/>
                  </a:lnTo>
                  <a:close/>
                </a:path>
              </a:pathLst>
            </a:custGeom>
            <a:solidFill>
              <a:srgbClr val="1A1B3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81E9596B-CABB-008C-8DE5-E586AF319B3A}"/>
                </a:ext>
              </a:extLst>
            </p:cNvPr>
            <p:cNvSpPr/>
            <p:nvPr/>
          </p:nvSpPr>
          <p:spPr>
            <a:xfrm>
              <a:off x="1132563" y="548680"/>
              <a:ext cx="728243" cy="430854"/>
            </a:xfrm>
            <a:custGeom>
              <a:avLst/>
              <a:gdLst>
                <a:gd name="connsiteX0" fmla="*/ 376481 w 728243"/>
                <a:gd name="connsiteY0" fmla="*/ 0 h 430854"/>
                <a:gd name="connsiteX1" fmla="*/ 220112 w 728243"/>
                <a:gd name="connsiteY1" fmla="*/ 0 h 430854"/>
                <a:gd name="connsiteX2" fmla="*/ 0 w 728243"/>
                <a:gd name="connsiteY2" fmla="*/ 220371 h 430854"/>
                <a:gd name="connsiteX3" fmla="*/ 0 w 728243"/>
                <a:gd name="connsiteY3" fmla="*/ 430855 h 430854"/>
                <a:gd name="connsiteX4" fmla="*/ 728244 w 728243"/>
                <a:gd name="connsiteY4" fmla="*/ 430855 h 430854"/>
                <a:gd name="connsiteX5" fmla="*/ 728244 w 728243"/>
                <a:gd name="connsiteY5" fmla="*/ 351761 h 430854"/>
                <a:gd name="connsiteX6" fmla="*/ 376481 w 728243"/>
                <a:gd name="connsiteY6" fmla="*/ 0 h 4308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28243" h="430854">
                  <a:moveTo>
                    <a:pt x="376481" y="0"/>
                  </a:moveTo>
                  <a:lnTo>
                    <a:pt x="220112" y="0"/>
                  </a:lnTo>
                  <a:cubicBezTo>
                    <a:pt x="98348" y="0"/>
                    <a:pt x="0" y="98607"/>
                    <a:pt x="0" y="220371"/>
                  </a:cubicBezTo>
                  <a:lnTo>
                    <a:pt x="0" y="430855"/>
                  </a:lnTo>
                  <a:lnTo>
                    <a:pt x="728244" y="430855"/>
                  </a:lnTo>
                  <a:lnTo>
                    <a:pt x="728244" y="351761"/>
                  </a:lnTo>
                  <a:cubicBezTo>
                    <a:pt x="728244" y="157408"/>
                    <a:pt x="570835" y="0"/>
                    <a:pt x="376481" y="0"/>
                  </a:cubicBezTo>
                </a:path>
              </a:pathLst>
            </a:custGeom>
            <a:solidFill>
              <a:srgbClr val="4D1C0E"/>
            </a:solidFill>
            <a:ln w="0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7CC904F4-0A98-1745-0647-AD989233B991}"/>
                </a:ext>
              </a:extLst>
            </p:cNvPr>
            <p:cNvSpPr/>
            <p:nvPr/>
          </p:nvSpPr>
          <p:spPr>
            <a:xfrm>
              <a:off x="1149620" y="1319847"/>
              <a:ext cx="502002" cy="759459"/>
            </a:xfrm>
            <a:custGeom>
              <a:avLst/>
              <a:gdLst>
                <a:gd name="connsiteX0" fmla="*/ 1156 w 502002"/>
                <a:gd name="connsiteY0" fmla="*/ 586962 h 759459"/>
                <a:gd name="connsiteX1" fmla="*/ 69323 w 502002"/>
                <a:gd name="connsiteY1" fmla="*/ 0 h 759459"/>
                <a:gd name="connsiteX2" fmla="*/ 502002 w 502002"/>
                <a:gd name="connsiteY2" fmla="*/ 42929 h 759459"/>
                <a:gd name="connsiteX3" fmla="*/ 427851 w 502002"/>
                <a:gd name="connsiteY3" fmla="*/ 638217 h 759459"/>
                <a:gd name="connsiteX4" fmla="*/ 220228 w 502002"/>
                <a:gd name="connsiteY4" fmla="*/ 717051 h 759459"/>
                <a:gd name="connsiteX5" fmla="*/ 204357 w 502002"/>
                <a:gd name="connsiteY5" fmla="*/ 759460 h 759459"/>
                <a:gd name="connsiteX6" fmla="*/ 1156 w 502002"/>
                <a:gd name="connsiteY6" fmla="*/ 586701 h 759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2002" h="759459">
                  <a:moveTo>
                    <a:pt x="1156" y="586962"/>
                  </a:moveTo>
                  <a:lnTo>
                    <a:pt x="69323" y="0"/>
                  </a:lnTo>
                  <a:lnTo>
                    <a:pt x="502002" y="42929"/>
                  </a:lnTo>
                  <a:lnTo>
                    <a:pt x="427851" y="638217"/>
                  </a:lnTo>
                  <a:cubicBezTo>
                    <a:pt x="412761" y="758939"/>
                    <a:pt x="340431" y="736304"/>
                    <a:pt x="220228" y="717051"/>
                  </a:cubicBezTo>
                  <a:lnTo>
                    <a:pt x="204357" y="759460"/>
                  </a:lnTo>
                  <a:cubicBezTo>
                    <a:pt x="90918" y="741247"/>
                    <a:pt x="-12113" y="700920"/>
                    <a:pt x="1156" y="586701"/>
                  </a:cubicBezTo>
                </a:path>
              </a:pathLst>
            </a:custGeom>
            <a:solidFill>
              <a:srgbClr val="F2DEC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4AE09582-B81F-F8BC-E0F8-37A4FEC1D5C6}"/>
                </a:ext>
              </a:extLst>
            </p:cNvPr>
            <p:cNvSpPr/>
            <p:nvPr/>
          </p:nvSpPr>
          <p:spPr>
            <a:xfrm>
              <a:off x="1033432" y="689953"/>
              <a:ext cx="641346" cy="902040"/>
            </a:xfrm>
            <a:custGeom>
              <a:avLst/>
              <a:gdLst>
                <a:gd name="connsiteX0" fmla="*/ 218033 w 641346"/>
                <a:gd name="connsiteY0" fmla="*/ 902040 h 902040"/>
                <a:gd name="connsiteX1" fmla="*/ 54120 w 641346"/>
                <a:gd name="connsiteY1" fmla="*/ 657733 h 902040"/>
                <a:gd name="connsiteX2" fmla="*/ 3 w 641346"/>
                <a:gd name="connsiteY2" fmla="*/ 478730 h 902040"/>
                <a:gd name="connsiteX3" fmla="*/ 523 w 641346"/>
                <a:gd name="connsiteY3" fmla="*/ 349682 h 902040"/>
                <a:gd name="connsiteX4" fmla="*/ 352547 w 641346"/>
                <a:gd name="connsiteY4" fmla="*/ 3 h 902040"/>
                <a:gd name="connsiteX5" fmla="*/ 641346 w 641346"/>
                <a:gd name="connsiteY5" fmla="*/ 783 h 902040"/>
                <a:gd name="connsiteX6" fmla="*/ 639785 w 641346"/>
                <a:gd name="connsiteY6" fmla="*/ 473787 h 902040"/>
                <a:gd name="connsiteX7" fmla="*/ 218033 w 641346"/>
                <a:gd name="connsiteY7" fmla="*/ 902040 h 902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41346" h="902040">
                  <a:moveTo>
                    <a:pt x="218033" y="902040"/>
                  </a:moveTo>
                  <a:lnTo>
                    <a:pt x="54120" y="657733"/>
                  </a:lnTo>
                  <a:cubicBezTo>
                    <a:pt x="18736" y="604657"/>
                    <a:pt x="-258" y="542474"/>
                    <a:pt x="3" y="478730"/>
                  </a:cubicBezTo>
                  <a:lnTo>
                    <a:pt x="523" y="349682"/>
                  </a:lnTo>
                  <a:cubicBezTo>
                    <a:pt x="1043" y="155850"/>
                    <a:pt x="158712" y="-778"/>
                    <a:pt x="352547" y="3"/>
                  </a:cubicBezTo>
                  <a:lnTo>
                    <a:pt x="641346" y="783"/>
                  </a:lnTo>
                  <a:lnTo>
                    <a:pt x="639785" y="473787"/>
                  </a:lnTo>
                  <a:cubicBezTo>
                    <a:pt x="639265" y="650448"/>
                    <a:pt x="394696" y="902560"/>
                    <a:pt x="218033" y="902040"/>
                  </a:cubicBezTo>
                </a:path>
              </a:pathLst>
            </a:custGeom>
            <a:solidFill>
              <a:srgbClr val="4D1C0E"/>
            </a:solidFill>
            <a:ln w="0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85E88CD4-F1D6-BB6B-45FA-D8681E9C7EE3}"/>
                </a:ext>
              </a:extLst>
            </p:cNvPr>
            <p:cNvSpPr/>
            <p:nvPr/>
          </p:nvSpPr>
          <p:spPr>
            <a:xfrm>
              <a:off x="1194225" y="1336757"/>
              <a:ext cx="432161" cy="432159"/>
            </a:xfrm>
            <a:custGeom>
              <a:avLst/>
              <a:gdLst>
                <a:gd name="connsiteX0" fmla="*/ 432159 w 432161"/>
                <a:gd name="connsiteY0" fmla="*/ 216730 h 432159"/>
                <a:gd name="connsiteX1" fmla="*/ 215430 w 432161"/>
                <a:gd name="connsiteY1" fmla="*/ 432158 h 432159"/>
                <a:gd name="connsiteX2" fmla="*/ 1 w 432161"/>
                <a:gd name="connsiteY2" fmla="*/ 215429 h 432159"/>
                <a:gd name="connsiteX3" fmla="*/ 216730 w 432161"/>
                <a:gd name="connsiteY3" fmla="*/ 2 h 432159"/>
                <a:gd name="connsiteX4" fmla="*/ 432159 w 432161"/>
                <a:gd name="connsiteY4" fmla="*/ 216730 h 4321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2161" h="432159">
                  <a:moveTo>
                    <a:pt x="432159" y="216730"/>
                  </a:moveTo>
                  <a:cubicBezTo>
                    <a:pt x="431899" y="336152"/>
                    <a:pt x="334592" y="432678"/>
                    <a:pt x="215430" y="432158"/>
                  </a:cubicBezTo>
                  <a:cubicBezTo>
                    <a:pt x="96007" y="431898"/>
                    <a:pt x="-260" y="334591"/>
                    <a:pt x="1" y="215429"/>
                  </a:cubicBezTo>
                  <a:cubicBezTo>
                    <a:pt x="521" y="96008"/>
                    <a:pt x="97568" y="-518"/>
                    <a:pt x="216730" y="2"/>
                  </a:cubicBezTo>
                  <a:cubicBezTo>
                    <a:pt x="336153" y="262"/>
                    <a:pt x="432680" y="97569"/>
                    <a:pt x="432159" y="216730"/>
                  </a:cubicBezTo>
                </a:path>
              </a:pathLst>
            </a:custGeom>
            <a:solidFill>
              <a:srgbClr val="F2DEC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ED8A9150-D014-EB7F-A73C-D7D63336FD10}"/>
                </a:ext>
              </a:extLst>
            </p:cNvPr>
            <p:cNvSpPr/>
            <p:nvPr/>
          </p:nvSpPr>
          <p:spPr>
            <a:xfrm>
              <a:off x="1193966" y="1367199"/>
              <a:ext cx="114739" cy="197735"/>
            </a:xfrm>
            <a:custGeom>
              <a:avLst/>
              <a:gdLst>
                <a:gd name="connsiteX0" fmla="*/ 781 w 114739"/>
                <a:gd name="connsiteY0" fmla="*/ 0 h 197735"/>
                <a:gd name="connsiteX1" fmla="*/ 0 w 114739"/>
                <a:gd name="connsiteY1" fmla="*/ 197735 h 197735"/>
                <a:gd name="connsiteX2" fmla="*/ 114739 w 114739"/>
                <a:gd name="connsiteY2" fmla="*/ 27579 h 197735"/>
                <a:gd name="connsiteX3" fmla="*/ 781 w 114739"/>
                <a:gd name="connsiteY3" fmla="*/ 0 h 197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739" h="197735">
                  <a:moveTo>
                    <a:pt x="781" y="0"/>
                  </a:moveTo>
                  <a:lnTo>
                    <a:pt x="0" y="197735"/>
                  </a:lnTo>
                  <a:lnTo>
                    <a:pt x="114739" y="27579"/>
                  </a:lnTo>
                  <a:lnTo>
                    <a:pt x="781" y="0"/>
                  </a:lnTo>
                  <a:close/>
                </a:path>
              </a:pathLst>
            </a:custGeom>
            <a:solidFill>
              <a:srgbClr val="F2DEC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DD670492-32AF-D13A-92FB-BBED76E686AE}"/>
                </a:ext>
              </a:extLst>
            </p:cNvPr>
            <p:cNvSpPr/>
            <p:nvPr/>
          </p:nvSpPr>
          <p:spPr>
            <a:xfrm>
              <a:off x="1425266" y="1607344"/>
              <a:ext cx="192793" cy="162871"/>
            </a:xfrm>
            <a:custGeom>
              <a:avLst/>
              <a:gdLst>
                <a:gd name="connsiteX0" fmla="*/ 192793 w 192793"/>
                <a:gd name="connsiteY0" fmla="*/ 27319 h 162871"/>
                <a:gd name="connsiteX1" fmla="*/ 0 w 192793"/>
                <a:gd name="connsiteY1" fmla="*/ 0 h 162871"/>
                <a:gd name="connsiteX2" fmla="*/ 174841 w 192793"/>
                <a:gd name="connsiteY2" fmla="*/ 162871 h 162871"/>
                <a:gd name="connsiteX3" fmla="*/ 192793 w 192793"/>
                <a:gd name="connsiteY3" fmla="*/ 27319 h 162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793" h="162871">
                  <a:moveTo>
                    <a:pt x="192793" y="27319"/>
                  </a:moveTo>
                  <a:lnTo>
                    <a:pt x="0" y="0"/>
                  </a:lnTo>
                  <a:lnTo>
                    <a:pt x="174841" y="162871"/>
                  </a:lnTo>
                  <a:lnTo>
                    <a:pt x="192793" y="27319"/>
                  </a:lnTo>
                  <a:close/>
                </a:path>
              </a:pathLst>
            </a:custGeom>
            <a:solidFill>
              <a:srgbClr val="E2C39A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42413BDE-0C4F-CA5D-6F02-260BFB604B72}"/>
                </a:ext>
              </a:extLst>
            </p:cNvPr>
            <p:cNvSpPr/>
            <p:nvPr/>
          </p:nvSpPr>
          <p:spPr>
            <a:xfrm>
              <a:off x="1218419" y="670183"/>
              <a:ext cx="644470" cy="967342"/>
            </a:xfrm>
            <a:custGeom>
              <a:avLst/>
              <a:gdLst>
                <a:gd name="connsiteX0" fmla="*/ 409006 w 644470"/>
                <a:gd name="connsiteY0" fmla="*/ 967082 h 967342"/>
                <a:gd name="connsiteX1" fmla="*/ 318724 w 644470"/>
                <a:gd name="connsiteY1" fmla="*/ 967082 h 967342"/>
                <a:gd name="connsiteX2" fmla="*/ 3 w 644470"/>
                <a:gd name="connsiteY2" fmla="*/ 646022 h 967342"/>
                <a:gd name="connsiteX3" fmla="*/ 1044 w 644470"/>
                <a:gd name="connsiteY3" fmla="*/ 322881 h 967342"/>
                <a:gd name="connsiteX4" fmla="*/ 321846 w 644470"/>
                <a:gd name="connsiteY4" fmla="*/ 52036 h 967342"/>
                <a:gd name="connsiteX5" fmla="*/ 399379 w 644470"/>
                <a:gd name="connsiteY5" fmla="*/ 0 h 967342"/>
                <a:gd name="connsiteX6" fmla="*/ 644469 w 644470"/>
                <a:gd name="connsiteY6" fmla="*/ 238583 h 967342"/>
                <a:gd name="connsiteX7" fmla="*/ 642908 w 644470"/>
                <a:gd name="connsiteY7" fmla="*/ 735003 h 967342"/>
                <a:gd name="connsiteX8" fmla="*/ 409266 w 644470"/>
                <a:gd name="connsiteY8" fmla="*/ 967342 h 967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4470" h="967342">
                  <a:moveTo>
                    <a:pt x="409006" y="967082"/>
                  </a:moveTo>
                  <a:lnTo>
                    <a:pt x="318724" y="967082"/>
                  </a:lnTo>
                  <a:cubicBezTo>
                    <a:pt x="142061" y="966301"/>
                    <a:pt x="-777" y="822683"/>
                    <a:pt x="3" y="646022"/>
                  </a:cubicBezTo>
                  <a:lnTo>
                    <a:pt x="1044" y="322881"/>
                  </a:lnTo>
                  <a:cubicBezTo>
                    <a:pt x="1564" y="146220"/>
                    <a:pt x="145184" y="51515"/>
                    <a:pt x="321846" y="52036"/>
                  </a:cubicBezTo>
                  <a:lnTo>
                    <a:pt x="399379" y="0"/>
                  </a:lnTo>
                  <a:cubicBezTo>
                    <a:pt x="528169" y="260"/>
                    <a:pt x="644989" y="109535"/>
                    <a:pt x="644469" y="238583"/>
                  </a:cubicBezTo>
                  <a:lnTo>
                    <a:pt x="642908" y="735003"/>
                  </a:lnTo>
                  <a:cubicBezTo>
                    <a:pt x="642648" y="863791"/>
                    <a:pt x="537795" y="967602"/>
                    <a:pt x="409266" y="967342"/>
                  </a:cubicBezTo>
                </a:path>
              </a:pathLst>
            </a:custGeom>
            <a:solidFill>
              <a:srgbClr val="F2DEC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9B727E82-8576-1B3B-A8DA-0115B63407DB}"/>
                </a:ext>
              </a:extLst>
            </p:cNvPr>
            <p:cNvSpPr/>
            <p:nvPr/>
          </p:nvSpPr>
          <p:spPr>
            <a:xfrm>
              <a:off x="1031613" y="635057"/>
              <a:ext cx="831797" cy="590345"/>
            </a:xfrm>
            <a:custGeom>
              <a:avLst/>
              <a:gdLst>
                <a:gd name="connsiteX0" fmla="*/ 830755 w 831797"/>
                <a:gd name="connsiteY0" fmla="*/ 590345 h 590345"/>
                <a:gd name="connsiteX1" fmla="*/ 831796 w 831797"/>
                <a:gd name="connsiteY1" fmla="*/ 246130 h 590345"/>
                <a:gd name="connsiteX2" fmla="*/ 587747 w 831797"/>
                <a:gd name="connsiteY2" fmla="*/ 782 h 590345"/>
                <a:gd name="connsiteX3" fmla="*/ 348901 w 831797"/>
                <a:gd name="connsiteY3" fmla="*/ 1 h 590345"/>
                <a:gd name="connsiteX4" fmla="*/ 0 w 831797"/>
                <a:gd name="connsiteY4" fmla="*/ 346558 h 590345"/>
                <a:gd name="connsiteX5" fmla="*/ 2862 w 831797"/>
                <a:gd name="connsiteY5" fmla="*/ 467801 h 590345"/>
                <a:gd name="connsiteX6" fmla="*/ 830495 w 831797"/>
                <a:gd name="connsiteY6" fmla="*/ 590085 h 5903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31797" h="590345">
                  <a:moveTo>
                    <a:pt x="830755" y="590345"/>
                  </a:moveTo>
                  <a:lnTo>
                    <a:pt x="831796" y="246130"/>
                  </a:lnTo>
                  <a:cubicBezTo>
                    <a:pt x="832316" y="111097"/>
                    <a:pt x="723040" y="1042"/>
                    <a:pt x="587747" y="782"/>
                  </a:cubicBezTo>
                  <a:lnTo>
                    <a:pt x="348901" y="1"/>
                  </a:lnTo>
                  <a:cubicBezTo>
                    <a:pt x="156889" y="-519"/>
                    <a:pt x="781" y="154547"/>
                    <a:pt x="0" y="346558"/>
                  </a:cubicBezTo>
                  <a:lnTo>
                    <a:pt x="2862" y="467801"/>
                  </a:lnTo>
                  <a:lnTo>
                    <a:pt x="830495" y="590085"/>
                  </a:lnTo>
                  <a:close/>
                </a:path>
              </a:pathLst>
            </a:custGeom>
            <a:solidFill>
              <a:srgbClr val="4D1C0E"/>
            </a:solidFill>
            <a:ln w="0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76EF78C5-549F-1FC7-B388-DD67CAE11F55}"/>
                </a:ext>
              </a:extLst>
            </p:cNvPr>
            <p:cNvSpPr/>
            <p:nvPr/>
          </p:nvSpPr>
          <p:spPr>
            <a:xfrm>
              <a:off x="1296997" y="868328"/>
              <a:ext cx="565631" cy="355773"/>
            </a:xfrm>
            <a:custGeom>
              <a:avLst/>
              <a:gdLst>
                <a:gd name="connsiteX0" fmla="*/ 260 w 565631"/>
                <a:gd name="connsiteY0" fmla="*/ 278241 h 355773"/>
                <a:gd name="connsiteX1" fmla="*/ 260 w 565631"/>
                <a:gd name="connsiteY1" fmla="*/ 226465 h 355773"/>
                <a:gd name="connsiteX2" fmla="*/ 41889 w 565631"/>
                <a:gd name="connsiteY2" fmla="*/ 157258 h 355773"/>
                <a:gd name="connsiteX3" fmla="*/ 96006 w 565631"/>
                <a:gd name="connsiteY3" fmla="*/ 117971 h 355773"/>
                <a:gd name="connsiteX4" fmla="*/ 84038 w 565631"/>
                <a:gd name="connsiteY4" fmla="*/ 80505 h 355773"/>
                <a:gd name="connsiteX5" fmla="*/ 97047 w 565631"/>
                <a:gd name="connsiteY5" fmla="*/ 27169 h 355773"/>
                <a:gd name="connsiteX6" fmla="*/ 168597 w 565631"/>
                <a:gd name="connsiteY6" fmla="*/ 1151 h 355773"/>
                <a:gd name="connsiteX7" fmla="*/ 295825 w 565631"/>
                <a:gd name="connsiteY7" fmla="*/ 8176 h 355773"/>
                <a:gd name="connsiteX8" fmla="*/ 457657 w 565631"/>
                <a:gd name="connsiteY8" fmla="*/ 110 h 355773"/>
                <a:gd name="connsiteX9" fmla="*/ 487577 w 565631"/>
                <a:gd name="connsiteY9" fmla="*/ 9477 h 355773"/>
                <a:gd name="connsiteX10" fmla="*/ 510994 w 565631"/>
                <a:gd name="connsiteY10" fmla="*/ 87010 h 355773"/>
                <a:gd name="connsiteX11" fmla="*/ 548460 w 565631"/>
                <a:gd name="connsiteY11" fmla="*/ 133061 h 355773"/>
                <a:gd name="connsiteX12" fmla="*/ 565631 w 565631"/>
                <a:gd name="connsiteY12" fmla="*/ 223343 h 355773"/>
                <a:gd name="connsiteX13" fmla="*/ 565111 w 565631"/>
                <a:gd name="connsiteY13" fmla="*/ 355774 h 355773"/>
                <a:gd name="connsiteX14" fmla="*/ 55939 w 565631"/>
                <a:gd name="connsiteY14" fmla="*/ 354213 h 355773"/>
                <a:gd name="connsiteX15" fmla="*/ 0 w 565631"/>
                <a:gd name="connsiteY15" fmla="*/ 278761 h 355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65631" h="355773">
                  <a:moveTo>
                    <a:pt x="260" y="278241"/>
                  </a:moveTo>
                  <a:lnTo>
                    <a:pt x="260" y="226465"/>
                  </a:lnTo>
                  <a:cubicBezTo>
                    <a:pt x="5724" y="210594"/>
                    <a:pt x="17172" y="183276"/>
                    <a:pt x="41889" y="157258"/>
                  </a:cubicBezTo>
                  <a:cubicBezTo>
                    <a:pt x="61663" y="136444"/>
                    <a:pt x="82217" y="124475"/>
                    <a:pt x="96006" y="117971"/>
                  </a:cubicBezTo>
                  <a:lnTo>
                    <a:pt x="84038" y="80505"/>
                  </a:lnTo>
                  <a:cubicBezTo>
                    <a:pt x="78054" y="61773"/>
                    <a:pt x="82997" y="40958"/>
                    <a:pt x="97047" y="27169"/>
                  </a:cubicBezTo>
                  <a:cubicBezTo>
                    <a:pt x="116040" y="8436"/>
                    <a:pt x="142058" y="-1190"/>
                    <a:pt x="168597" y="1151"/>
                  </a:cubicBezTo>
                  <a:cubicBezTo>
                    <a:pt x="205282" y="4013"/>
                    <a:pt x="258879" y="7916"/>
                    <a:pt x="295825" y="8176"/>
                  </a:cubicBezTo>
                  <a:cubicBezTo>
                    <a:pt x="346040" y="8436"/>
                    <a:pt x="423833" y="2712"/>
                    <a:pt x="457657" y="110"/>
                  </a:cubicBezTo>
                  <a:cubicBezTo>
                    <a:pt x="468584" y="-670"/>
                    <a:pt x="479252" y="2712"/>
                    <a:pt x="487577" y="9477"/>
                  </a:cubicBezTo>
                  <a:cubicBezTo>
                    <a:pt x="511774" y="28990"/>
                    <a:pt x="510734" y="56049"/>
                    <a:pt x="510994" y="87010"/>
                  </a:cubicBezTo>
                  <a:cubicBezTo>
                    <a:pt x="518539" y="98978"/>
                    <a:pt x="541435" y="115629"/>
                    <a:pt x="548460" y="133061"/>
                  </a:cubicBezTo>
                  <a:cubicBezTo>
                    <a:pt x="562509" y="168706"/>
                    <a:pt x="565371" y="200968"/>
                    <a:pt x="565631" y="223343"/>
                  </a:cubicBezTo>
                  <a:cubicBezTo>
                    <a:pt x="565631" y="267573"/>
                    <a:pt x="565371" y="311804"/>
                    <a:pt x="565111" y="355774"/>
                  </a:cubicBezTo>
                  <a:lnTo>
                    <a:pt x="55939" y="354213"/>
                  </a:lnTo>
                  <a:lnTo>
                    <a:pt x="0" y="278761"/>
                  </a:lnTo>
                  <a:close/>
                </a:path>
              </a:pathLst>
            </a:custGeom>
            <a:solidFill>
              <a:srgbClr val="F2DEC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8E5D3989-1ABF-2789-5D8A-B349D9237DD7}"/>
                </a:ext>
              </a:extLst>
            </p:cNvPr>
            <p:cNvSpPr/>
            <p:nvPr/>
          </p:nvSpPr>
          <p:spPr>
            <a:xfrm>
              <a:off x="1105156" y="1133992"/>
              <a:ext cx="220200" cy="248818"/>
            </a:xfrm>
            <a:custGeom>
              <a:avLst/>
              <a:gdLst>
                <a:gd name="connsiteX0" fmla="*/ 121593 w 220200"/>
                <a:gd name="connsiteY0" fmla="*/ 248819 h 248818"/>
                <a:gd name="connsiteX1" fmla="*/ 68256 w 220200"/>
                <a:gd name="connsiteY1" fmla="*/ 224102 h 248818"/>
                <a:gd name="connsiteX2" fmla="*/ 10756 w 220200"/>
                <a:gd name="connsiteY2" fmla="*/ 68255 h 248818"/>
                <a:gd name="connsiteX3" fmla="*/ 166864 w 220200"/>
                <a:gd name="connsiteY3" fmla="*/ 10756 h 248818"/>
                <a:gd name="connsiteX4" fmla="*/ 220201 w 220200"/>
                <a:gd name="connsiteY4" fmla="*/ 35473 h 248818"/>
                <a:gd name="connsiteX5" fmla="*/ 121593 w 220200"/>
                <a:gd name="connsiteY5" fmla="*/ 248819 h 248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20200" h="248818">
                  <a:moveTo>
                    <a:pt x="121593" y="248819"/>
                  </a:moveTo>
                  <a:lnTo>
                    <a:pt x="68256" y="224102"/>
                  </a:lnTo>
                  <a:cubicBezTo>
                    <a:pt x="9455" y="196783"/>
                    <a:pt x="-16303" y="127055"/>
                    <a:pt x="10756" y="68255"/>
                  </a:cubicBezTo>
                  <a:cubicBezTo>
                    <a:pt x="38075" y="9455"/>
                    <a:pt x="107803" y="-16303"/>
                    <a:pt x="166864" y="10756"/>
                  </a:cubicBezTo>
                  <a:lnTo>
                    <a:pt x="220201" y="35473"/>
                  </a:lnTo>
                  <a:lnTo>
                    <a:pt x="121593" y="248819"/>
                  </a:lnTo>
                  <a:close/>
                </a:path>
              </a:pathLst>
            </a:custGeom>
            <a:solidFill>
              <a:srgbClr val="F2DEC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A2FA018D-DB0A-D6FD-6433-A140B54AD8E7}"/>
                </a:ext>
              </a:extLst>
            </p:cNvPr>
            <p:cNvSpPr/>
            <p:nvPr/>
          </p:nvSpPr>
          <p:spPr>
            <a:xfrm rot="16211400">
              <a:off x="1129577" y="1045712"/>
              <a:ext cx="256537" cy="78313"/>
            </a:xfrm>
            <a:custGeom>
              <a:avLst/>
              <a:gdLst>
                <a:gd name="connsiteX0" fmla="*/ 0 w 256537"/>
                <a:gd name="connsiteY0" fmla="*/ 0 h 78313"/>
                <a:gd name="connsiteX1" fmla="*/ 256538 w 256537"/>
                <a:gd name="connsiteY1" fmla="*/ 0 h 78313"/>
                <a:gd name="connsiteX2" fmla="*/ 256538 w 256537"/>
                <a:gd name="connsiteY2" fmla="*/ 78314 h 78313"/>
                <a:gd name="connsiteX3" fmla="*/ 0 w 256537"/>
                <a:gd name="connsiteY3" fmla="*/ 78314 h 78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6537" h="78313">
                  <a:moveTo>
                    <a:pt x="0" y="0"/>
                  </a:moveTo>
                  <a:lnTo>
                    <a:pt x="256538" y="0"/>
                  </a:lnTo>
                  <a:lnTo>
                    <a:pt x="256538" y="78314"/>
                  </a:lnTo>
                  <a:lnTo>
                    <a:pt x="0" y="78314"/>
                  </a:lnTo>
                  <a:close/>
                </a:path>
              </a:pathLst>
            </a:custGeom>
            <a:solidFill>
              <a:srgbClr val="4D1C0E"/>
            </a:solidFill>
            <a:ln w="0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AF697509-EC92-403E-5504-326A09F64579}"/>
                </a:ext>
              </a:extLst>
            </p:cNvPr>
            <p:cNvSpPr/>
            <p:nvPr/>
          </p:nvSpPr>
          <p:spPr>
            <a:xfrm>
              <a:off x="1124758" y="1807681"/>
              <a:ext cx="218030" cy="294261"/>
            </a:xfrm>
            <a:custGeom>
              <a:avLst/>
              <a:gdLst>
                <a:gd name="connsiteX0" fmla="*/ 9887 w 218030"/>
                <a:gd name="connsiteY0" fmla="*/ 0 h 294261"/>
                <a:gd name="connsiteX1" fmla="*/ 218031 w 218030"/>
                <a:gd name="connsiteY1" fmla="*/ 207622 h 294261"/>
                <a:gd name="connsiteX2" fmla="*/ 100430 w 218030"/>
                <a:gd name="connsiteY2" fmla="*/ 294261 h 294261"/>
                <a:gd name="connsiteX3" fmla="*/ 0 w 218030"/>
                <a:gd name="connsiteY3" fmla="*/ 173539 h 294261"/>
                <a:gd name="connsiteX4" fmla="*/ 9887 w 218030"/>
                <a:gd name="connsiteY4" fmla="*/ 0 h 294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8030" h="294261">
                  <a:moveTo>
                    <a:pt x="9887" y="0"/>
                  </a:moveTo>
                  <a:lnTo>
                    <a:pt x="218031" y="207622"/>
                  </a:lnTo>
                  <a:lnTo>
                    <a:pt x="100430" y="294261"/>
                  </a:lnTo>
                  <a:lnTo>
                    <a:pt x="0" y="173539"/>
                  </a:lnTo>
                  <a:lnTo>
                    <a:pt x="9887" y="0"/>
                  </a:lnTo>
                  <a:close/>
                </a:path>
              </a:pathLst>
            </a:custGeom>
            <a:solidFill>
              <a:srgbClr val="FFFBF6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83BBC9C2-937B-AF8A-3CFA-4D45B2491651}"/>
                </a:ext>
              </a:extLst>
            </p:cNvPr>
            <p:cNvSpPr/>
            <p:nvPr/>
          </p:nvSpPr>
          <p:spPr>
            <a:xfrm>
              <a:off x="1408614" y="1807681"/>
              <a:ext cx="218030" cy="294261"/>
            </a:xfrm>
            <a:custGeom>
              <a:avLst/>
              <a:gdLst>
                <a:gd name="connsiteX0" fmla="*/ 208144 w 218030"/>
                <a:gd name="connsiteY0" fmla="*/ 0 h 294261"/>
                <a:gd name="connsiteX1" fmla="*/ 0 w 218030"/>
                <a:gd name="connsiteY1" fmla="*/ 207622 h 294261"/>
                <a:gd name="connsiteX2" fmla="*/ 117601 w 218030"/>
                <a:gd name="connsiteY2" fmla="*/ 294261 h 294261"/>
                <a:gd name="connsiteX3" fmla="*/ 218031 w 218030"/>
                <a:gd name="connsiteY3" fmla="*/ 173539 h 294261"/>
                <a:gd name="connsiteX4" fmla="*/ 208144 w 218030"/>
                <a:gd name="connsiteY4" fmla="*/ 0 h 294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8030" h="294261">
                  <a:moveTo>
                    <a:pt x="208144" y="0"/>
                  </a:moveTo>
                  <a:lnTo>
                    <a:pt x="0" y="207622"/>
                  </a:lnTo>
                  <a:lnTo>
                    <a:pt x="117601" y="294261"/>
                  </a:lnTo>
                  <a:lnTo>
                    <a:pt x="218031" y="173539"/>
                  </a:lnTo>
                  <a:lnTo>
                    <a:pt x="208144" y="0"/>
                  </a:lnTo>
                  <a:close/>
                </a:path>
              </a:pathLst>
            </a:custGeom>
            <a:solidFill>
              <a:srgbClr val="FFFBF6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17EEF450-1D1F-4A1C-2FB8-DA10D0C10AFD}"/>
                </a:ext>
              </a:extLst>
            </p:cNvPr>
            <p:cNvSpPr/>
            <p:nvPr/>
          </p:nvSpPr>
          <p:spPr>
            <a:xfrm>
              <a:off x="1215300" y="2179735"/>
              <a:ext cx="160270" cy="1851946"/>
            </a:xfrm>
            <a:custGeom>
              <a:avLst/>
              <a:gdLst>
                <a:gd name="connsiteX0" fmla="*/ 160271 w 160270"/>
                <a:gd name="connsiteY0" fmla="*/ 0 h 1851946"/>
                <a:gd name="connsiteX1" fmla="*/ 160271 w 160270"/>
                <a:gd name="connsiteY1" fmla="*/ 1851947 h 1851946"/>
                <a:gd name="connsiteX2" fmla="*/ 0 w 160270"/>
                <a:gd name="connsiteY2" fmla="*/ 1685173 h 1851946"/>
                <a:gd name="connsiteX3" fmla="*/ 53857 w 160270"/>
                <a:gd name="connsiteY3" fmla="*/ 166774 h 1851946"/>
                <a:gd name="connsiteX4" fmla="*/ 116040 w 160270"/>
                <a:gd name="connsiteY4" fmla="*/ 0 h 1851946"/>
                <a:gd name="connsiteX5" fmla="*/ 160271 w 160270"/>
                <a:gd name="connsiteY5" fmla="*/ 0 h 1851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0270" h="1851946">
                  <a:moveTo>
                    <a:pt x="160271" y="0"/>
                  </a:moveTo>
                  <a:lnTo>
                    <a:pt x="160271" y="1851947"/>
                  </a:lnTo>
                  <a:lnTo>
                    <a:pt x="0" y="1685173"/>
                  </a:lnTo>
                  <a:lnTo>
                    <a:pt x="53857" y="166774"/>
                  </a:lnTo>
                  <a:lnTo>
                    <a:pt x="116040" y="0"/>
                  </a:lnTo>
                  <a:lnTo>
                    <a:pt x="160271" y="0"/>
                  </a:lnTo>
                  <a:close/>
                </a:path>
              </a:pathLst>
            </a:custGeom>
            <a:solidFill>
              <a:srgbClr val="1195E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5" name="Freihandform: Form 44">
              <a:extLst>
                <a:ext uri="{FF2B5EF4-FFF2-40B4-BE49-F238E27FC236}">
                  <a16:creationId xmlns:a16="http://schemas.microsoft.com/office/drawing/2014/main" id="{A458CCC8-491A-1582-86F7-C4415FA7DB89}"/>
                </a:ext>
              </a:extLst>
            </p:cNvPr>
            <p:cNvSpPr/>
            <p:nvPr/>
          </p:nvSpPr>
          <p:spPr>
            <a:xfrm>
              <a:off x="1254588" y="2015303"/>
              <a:ext cx="120983" cy="164432"/>
            </a:xfrm>
            <a:custGeom>
              <a:avLst/>
              <a:gdLst>
                <a:gd name="connsiteX0" fmla="*/ 120984 w 120983"/>
                <a:gd name="connsiteY0" fmla="*/ 5984 h 164432"/>
                <a:gd name="connsiteX1" fmla="*/ 120984 w 120983"/>
                <a:gd name="connsiteY1" fmla="*/ 164432 h 164432"/>
                <a:gd name="connsiteX2" fmla="*/ 76753 w 120983"/>
                <a:gd name="connsiteY2" fmla="*/ 164432 h 164432"/>
                <a:gd name="connsiteX3" fmla="*/ 0 w 120983"/>
                <a:gd name="connsiteY3" fmla="*/ 65044 h 164432"/>
                <a:gd name="connsiteX4" fmla="*/ 88201 w 120983"/>
                <a:gd name="connsiteY4" fmla="*/ 0 h 164432"/>
                <a:gd name="connsiteX5" fmla="*/ 120984 w 120983"/>
                <a:gd name="connsiteY5" fmla="*/ 5984 h 164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0983" h="164432">
                  <a:moveTo>
                    <a:pt x="120984" y="5984"/>
                  </a:moveTo>
                  <a:lnTo>
                    <a:pt x="120984" y="164432"/>
                  </a:lnTo>
                  <a:lnTo>
                    <a:pt x="76753" y="164432"/>
                  </a:lnTo>
                  <a:lnTo>
                    <a:pt x="0" y="65044"/>
                  </a:lnTo>
                  <a:lnTo>
                    <a:pt x="88201" y="0"/>
                  </a:lnTo>
                  <a:lnTo>
                    <a:pt x="120984" y="5984"/>
                  </a:lnTo>
                  <a:close/>
                </a:path>
              </a:pathLst>
            </a:custGeom>
            <a:solidFill>
              <a:srgbClr val="1195E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6" name="Freihandform: Form 45">
              <a:extLst>
                <a:ext uri="{FF2B5EF4-FFF2-40B4-BE49-F238E27FC236}">
                  <a16:creationId xmlns:a16="http://schemas.microsoft.com/office/drawing/2014/main" id="{4F9CADE3-9339-46E5-B560-92A125EAFA8A}"/>
                </a:ext>
              </a:extLst>
            </p:cNvPr>
            <p:cNvSpPr/>
            <p:nvPr/>
          </p:nvSpPr>
          <p:spPr>
            <a:xfrm>
              <a:off x="1375571" y="2179735"/>
              <a:ext cx="160531" cy="1851946"/>
            </a:xfrm>
            <a:custGeom>
              <a:avLst/>
              <a:gdLst>
                <a:gd name="connsiteX0" fmla="*/ 0 w 160531"/>
                <a:gd name="connsiteY0" fmla="*/ 0 h 1851946"/>
                <a:gd name="connsiteX1" fmla="*/ 0 w 160531"/>
                <a:gd name="connsiteY1" fmla="*/ 1851947 h 1851946"/>
                <a:gd name="connsiteX2" fmla="*/ 160531 w 160531"/>
                <a:gd name="connsiteY2" fmla="*/ 1685173 h 1851946"/>
                <a:gd name="connsiteX3" fmla="*/ 106674 w 160531"/>
                <a:gd name="connsiteY3" fmla="*/ 166774 h 1851946"/>
                <a:gd name="connsiteX4" fmla="*/ 44491 w 160531"/>
                <a:gd name="connsiteY4" fmla="*/ 0 h 1851946"/>
                <a:gd name="connsiteX5" fmla="*/ 0 w 160531"/>
                <a:gd name="connsiteY5" fmla="*/ 0 h 1851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0531" h="1851946">
                  <a:moveTo>
                    <a:pt x="0" y="0"/>
                  </a:moveTo>
                  <a:lnTo>
                    <a:pt x="0" y="1851947"/>
                  </a:lnTo>
                  <a:lnTo>
                    <a:pt x="160531" y="1685173"/>
                  </a:lnTo>
                  <a:lnTo>
                    <a:pt x="106674" y="166774"/>
                  </a:lnTo>
                  <a:lnTo>
                    <a:pt x="4449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195E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7" name="Freihandform: Form 46">
              <a:extLst>
                <a:ext uri="{FF2B5EF4-FFF2-40B4-BE49-F238E27FC236}">
                  <a16:creationId xmlns:a16="http://schemas.microsoft.com/office/drawing/2014/main" id="{CFB10E80-7259-1EEB-C2D3-ADBA5BB4E302}"/>
                </a:ext>
              </a:extLst>
            </p:cNvPr>
            <p:cNvSpPr/>
            <p:nvPr/>
          </p:nvSpPr>
          <p:spPr>
            <a:xfrm>
              <a:off x="1375571" y="2015303"/>
              <a:ext cx="120983" cy="164432"/>
            </a:xfrm>
            <a:custGeom>
              <a:avLst/>
              <a:gdLst>
                <a:gd name="connsiteX0" fmla="*/ 0 w 120983"/>
                <a:gd name="connsiteY0" fmla="*/ 5984 h 164432"/>
                <a:gd name="connsiteX1" fmla="*/ 0 w 120983"/>
                <a:gd name="connsiteY1" fmla="*/ 164432 h 164432"/>
                <a:gd name="connsiteX2" fmla="*/ 44491 w 120983"/>
                <a:gd name="connsiteY2" fmla="*/ 164432 h 164432"/>
                <a:gd name="connsiteX3" fmla="*/ 120984 w 120983"/>
                <a:gd name="connsiteY3" fmla="*/ 65044 h 164432"/>
                <a:gd name="connsiteX4" fmla="*/ 33043 w 120983"/>
                <a:gd name="connsiteY4" fmla="*/ 0 h 164432"/>
                <a:gd name="connsiteX5" fmla="*/ 0 w 120983"/>
                <a:gd name="connsiteY5" fmla="*/ 5984 h 164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0983" h="164432">
                  <a:moveTo>
                    <a:pt x="0" y="5984"/>
                  </a:moveTo>
                  <a:lnTo>
                    <a:pt x="0" y="164432"/>
                  </a:lnTo>
                  <a:lnTo>
                    <a:pt x="44491" y="164432"/>
                  </a:lnTo>
                  <a:lnTo>
                    <a:pt x="120984" y="65044"/>
                  </a:lnTo>
                  <a:lnTo>
                    <a:pt x="33043" y="0"/>
                  </a:lnTo>
                  <a:lnTo>
                    <a:pt x="0" y="5984"/>
                  </a:lnTo>
                  <a:close/>
                </a:path>
              </a:pathLst>
            </a:custGeom>
            <a:solidFill>
              <a:srgbClr val="1195E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6E188608-D3E2-670E-328D-25547EC946CF}"/>
                </a:ext>
              </a:extLst>
            </p:cNvPr>
            <p:cNvSpPr/>
            <p:nvPr/>
          </p:nvSpPr>
          <p:spPr>
            <a:xfrm>
              <a:off x="1287630" y="2179735"/>
              <a:ext cx="123845" cy="120202"/>
            </a:xfrm>
            <a:custGeom>
              <a:avLst/>
              <a:gdLst>
                <a:gd name="connsiteX0" fmla="*/ 44751 w 123845"/>
                <a:gd name="connsiteY0" fmla="*/ 0 h 120202"/>
                <a:gd name="connsiteX1" fmla="*/ 123846 w 123845"/>
                <a:gd name="connsiteY1" fmla="*/ 0 h 120202"/>
                <a:gd name="connsiteX2" fmla="*/ 0 w 123845"/>
                <a:gd name="connsiteY2" fmla="*/ 120202 h 120202"/>
                <a:gd name="connsiteX3" fmla="*/ 44751 w 123845"/>
                <a:gd name="connsiteY3" fmla="*/ 0 h 120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845" h="120202">
                  <a:moveTo>
                    <a:pt x="44751" y="0"/>
                  </a:moveTo>
                  <a:lnTo>
                    <a:pt x="123846" y="0"/>
                  </a:lnTo>
                  <a:lnTo>
                    <a:pt x="0" y="120202"/>
                  </a:lnTo>
                  <a:lnTo>
                    <a:pt x="44751" y="0"/>
                  </a:lnTo>
                  <a:close/>
                </a:path>
              </a:pathLst>
            </a:custGeom>
            <a:solidFill>
              <a:srgbClr val="1195E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28A175B1-281F-2C70-35CB-7A9B243E41F7}"/>
                </a:ext>
              </a:extLst>
            </p:cNvPr>
            <p:cNvSpPr/>
            <p:nvPr/>
          </p:nvSpPr>
          <p:spPr>
            <a:xfrm>
              <a:off x="367670" y="1806416"/>
              <a:ext cx="569722" cy="569718"/>
            </a:xfrm>
            <a:custGeom>
              <a:avLst/>
              <a:gdLst>
                <a:gd name="connsiteX0" fmla="*/ 470890 w 569722"/>
                <a:gd name="connsiteY0" fmla="*/ 500547 h 569718"/>
                <a:gd name="connsiteX1" fmla="*/ 69172 w 569722"/>
                <a:gd name="connsiteY1" fmla="*/ 470887 h 569718"/>
                <a:gd name="connsiteX2" fmla="*/ 98833 w 569722"/>
                <a:gd name="connsiteY2" fmla="*/ 69172 h 569718"/>
                <a:gd name="connsiteX3" fmla="*/ 500551 w 569722"/>
                <a:gd name="connsiteY3" fmla="*/ 98832 h 569718"/>
                <a:gd name="connsiteX4" fmla="*/ 470890 w 569722"/>
                <a:gd name="connsiteY4" fmla="*/ 500547 h 5697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9722" h="569718">
                  <a:moveTo>
                    <a:pt x="470890" y="500547"/>
                  </a:moveTo>
                  <a:cubicBezTo>
                    <a:pt x="351728" y="603317"/>
                    <a:pt x="171943" y="590048"/>
                    <a:pt x="69172" y="470887"/>
                  </a:cubicBezTo>
                  <a:cubicBezTo>
                    <a:pt x="-33599" y="351725"/>
                    <a:pt x="-20330" y="171942"/>
                    <a:pt x="98833" y="69172"/>
                  </a:cubicBezTo>
                  <a:cubicBezTo>
                    <a:pt x="217995" y="-33599"/>
                    <a:pt x="397780" y="-20330"/>
                    <a:pt x="500551" y="98832"/>
                  </a:cubicBezTo>
                  <a:cubicBezTo>
                    <a:pt x="603322" y="217993"/>
                    <a:pt x="590053" y="397776"/>
                    <a:pt x="470890" y="500547"/>
                  </a:cubicBezTo>
                </a:path>
              </a:pathLst>
            </a:custGeom>
            <a:solidFill>
              <a:srgbClr val="212A5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4FF6F361-CB3E-8F7E-E40C-28ABC6DCCC78}"/>
                </a:ext>
              </a:extLst>
            </p:cNvPr>
            <p:cNvSpPr/>
            <p:nvPr/>
          </p:nvSpPr>
          <p:spPr>
            <a:xfrm>
              <a:off x="21594" y="1906288"/>
              <a:ext cx="913491" cy="1091446"/>
            </a:xfrm>
            <a:custGeom>
              <a:avLst/>
              <a:gdLst>
                <a:gd name="connsiteX0" fmla="*/ 435281 w 913491"/>
                <a:gd name="connsiteY0" fmla="*/ 1091447 h 1091446"/>
                <a:gd name="connsiteX1" fmla="*/ 0 w 913491"/>
                <a:gd name="connsiteY1" fmla="*/ 1013653 h 1091446"/>
                <a:gd name="connsiteX2" fmla="*/ 408743 w 913491"/>
                <a:gd name="connsiteY2" fmla="*/ 0 h 1091446"/>
                <a:gd name="connsiteX3" fmla="*/ 913492 w 913491"/>
                <a:gd name="connsiteY3" fmla="*/ 264081 h 1091446"/>
                <a:gd name="connsiteX4" fmla="*/ 435281 w 913491"/>
                <a:gd name="connsiteY4" fmla="*/ 1091447 h 1091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3491" h="1091446">
                  <a:moveTo>
                    <a:pt x="435281" y="1091447"/>
                  </a:moveTo>
                  <a:lnTo>
                    <a:pt x="0" y="1013653"/>
                  </a:lnTo>
                  <a:lnTo>
                    <a:pt x="408743" y="0"/>
                  </a:lnTo>
                  <a:lnTo>
                    <a:pt x="913492" y="264081"/>
                  </a:lnTo>
                  <a:lnTo>
                    <a:pt x="435281" y="1091447"/>
                  </a:lnTo>
                  <a:close/>
                </a:path>
              </a:pathLst>
            </a:custGeom>
            <a:solidFill>
              <a:srgbClr val="212A5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D894BE6F-995A-3832-51C4-271A852B1006}"/>
                </a:ext>
              </a:extLst>
            </p:cNvPr>
            <p:cNvSpPr/>
            <p:nvPr/>
          </p:nvSpPr>
          <p:spPr>
            <a:xfrm>
              <a:off x="531547" y="3203275"/>
              <a:ext cx="413426" cy="775070"/>
            </a:xfrm>
            <a:custGeom>
              <a:avLst/>
              <a:gdLst>
                <a:gd name="connsiteX0" fmla="*/ 413426 w 413426"/>
                <a:gd name="connsiteY0" fmla="*/ 775070 h 775070"/>
                <a:gd name="connsiteX1" fmla="*/ 0 w 413426"/>
                <a:gd name="connsiteY1" fmla="*/ 718351 h 775070"/>
                <a:gd name="connsiteX2" fmla="*/ 50995 w 413426"/>
                <a:gd name="connsiteY2" fmla="*/ 0 h 775070"/>
                <a:gd name="connsiteX3" fmla="*/ 360610 w 413426"/>
                <a:gd name="connsiteY3" fmla="*/ 235981 h 775070"/>
                <a:gd name="connsiteX4" fmla="*/ 413426 w 413426"/>
                <a:gd name="connsiteY4" fmla="*/ 775070 h 775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3426" h="775070">
                  <a:moveTo>
                    <a:pt x="413426" y="775070"/>
                  </a:moveTo>
                  <a:lnTo>
                    <a:pt x="0" y="718351"/>
                  </a:lnTo>
                  <a:lnTo>
                    <a:pt x="50995" y="0"/>
                  </a:lnTo>
                  <a:lnTo>
                    <a:pt x="360610" y="235981"/>
                  </a:lnTo>
                  <a:lnTo>
                    <a:pt x="413426" y="775070"/>
                  </a:lnTo>
                  <a:close/>
                </a:path>
              </a:pathLst>
            </a:custGeom>
            <a:solidFill>
              <a:srgbClr val="212A5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2" name="Freihandform: Form 51">
              <a:extLst>
                <a:ext uri="{FF2B5EF4-FFF2-40B4-BE49-F238E27FC236}">
                  <a16:creationId xmlns:a16="http://schemas.microsoft.com/office/drawing/2014/main" id="{CED0F121-CF22-B24C-AFF8-E6094610C731}"/>
                </a:ext>
              </a:extLst>
            </p:cNvPr>
            <p:cNvSpPr/>
            <p:nvPr/>
          </p:nvSpPr>
          <p:spPr>
            <a:xfrm>
              <a:off x="853650" y="1807681"/>
              <a:ext cx="280474" cy="1735126"/>
            </a:xfrm>
            <a:custGeom>
              <a:avLst/>
              <a:gdLst>
                <a:gd name="connsiteX0" fmla="*/ 123846 w 280474"/>
                <a:gd name="connsiteY0" fmla="*/ 0 h 1735126"/>
                <a:gd name="connsiteX1" fmla="*/ 19253 w 280474"/>
                <a:gd name="connsiteY1" fmla="*/ 187849 h 1735126"/>
                <a:gd name="connsiteX2" fmla="*/ 80135 w 280474"/>
                <a:gd name="connsiteY2" fmla="*/ 283074 h 1735126"/>
                <a:gd name="connsiteX3" fmla="*/ 0 w 280474"/>
                <a:gd name="connsiteY3" fmla="*/ 364249 h 1735126"/>
                <a:gd name="connsiteX4" fmla="*/ 88721 w 280474"/>
                <a:gd name="connsiteY4" fmla="*/ 1318842 h 1735126"/>
                <a:gd name="connsiteX5" fmla="*/ 181345 w 280474"/>
                <a:gd name="connsiteY5" fmla="*/ 1735127 h 1735126"/>
                <a:gd name="connsiteX6" fmla="*/ 280474 w 280474"/>
                <a:gd name="connsiteY6" fmla="*/ 260 h 1735126"/>
                <a:gd name="connsiteX7" fmla="*/ 123586 w 280474"/>
                <a:gd name="connsiteY7" fmla="*/ 260 h 17351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474" h="1735126">
                  <a:moveTo>
                    <a:pt x="123846" y="0"/>
                  </a:moveTo>
                  <a:lnTo>
                    <a:pt x="19253" y="187849"/>
                  </a:lnTo>
                  <a:lnTo>
                    <a:pt x="80135" y="283074"/>
                  </a:lnTo>
                  <a:lnTo>
                    <a:pt x="0" y="364249"/>
                  </a:lnTo>
                  <a:cubicBezTo>
                    <a:pt x="0" y="364249"/>
                    <a:pt x="51516" y="1082080"/>
                    <a:pt x="88721" y="1318842"/>
                  </a:cubicBezTo>
                  <a:cubicBezTo>
                    <a:pt x="105373" y="1424214"/>
                    <a:pt x="181345" y="1735127"/>
                    <a:pt x="181345" y="1735127"/>
                  </a:cubicBezTo>
                  <a:lnTo>
                    <a:pt x="280474" y="260"/>
                  </a:lnTo>
                  <a:lnTo>
                    <a:pt x="123586" y="260"/>
                  </a:lnTo>
                  <a:close/>
                </a:path>
              </a:pathLst>
            </a:custGeom>
            <a:solidFill>
              <a:srgbClr val="1A1B3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3" name="Freihandform: Form 52">
              <a:extLst>
                <a:ext uri="{FF2B5EF4-FFF2-40B4-BE49-F238E27FC236}">
                  <a16:creationId xmlns:a16="http://schemas.microsoft.com/office/drawing/2014/main" id="{7CA299A0-8C57-E6F7-DF5A-B6255410BB50}"/>
                </a:ext>
              </a:extLst>
            </p:cNvPr>
            <p:cNvSpPr/>
            <p:nvPr/>
          </p:nvSpPr>
          <p:spPr>
            <a:xfrm>
              <a:off x="1464553" y="3036761"/>
              <a:ext cx="691558" cy="195088"/>
            </a:xfrm>
            <a:custGeom>
              <a:avLst/>
              <a:gdLst>
                <a:gd name="connsiteX0" fmla="*/ 395214 w 691558"/>
                <a:gd name="connsiteY0" fmla="*/ 0 h 195088"/>
                <a:gd name="connsiteX1" fmla="*/ 296345 w 691558"/>
                <a:gd name="connsiteY1" fmla="*/ 0 h 195088"/>
                <a:gd name="connsiteX2" fmla="*/ 181345 w 691558"/>
                <a:gd name="connsiteY2" fmla="*/ 32002 h 195088"/>
                <a:gd name="connsiteX3" fmla="*/ 0 w 691558"/>
                <a:gd name="connsiteY3" fmla="*/ 141537 h 195088"/>
                <a:gd name="connsiteX4" fmla="*/ 152726 w 691558"/>
                <a:gd name="connsiteY4" fmla="*/ 179003 h 195088"/>
                <a:gd name="connsiteX5" fmla="*/ 345779 w 691558"/>
                <a:gd name="connsiteY5" fmla="*/ 62183 h 195088"/>
                <a:gd name="connsiteX6" fmla="*/ 538833 w 691558"/>
                <a:gd name="connsiteY6" fmla="*/ 179003 h 195088"/>
                <a:gd name="connsiteX7" fmla="*/ 691559 w 691558"/>
                <a:gd name="connsiteY7" fmla="*/ 141537 h 195088"/>
                <a:gd name="connsiteX8" fmla="*/ 510213 w 691558"/>
                <a:gd name="connsiteY8" fmla="*/ 32002 h 195088"/>
                <a:gd name="connsiteX9" fmla="*/ 395214 w 691558"/>
                <a:gd name="connsiteY9" fmla="*/ 0 h 195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1558" h="195088">
                  <a:moveTo>
                    <a:pt x="395214" y="0"/>
                  </a:moveTo>
                  <a:lnTo>
                    <a:pt x="296345" y="0"/>
                  </a:lnTo>
                  <a:cubicBezTo>
                    <a:pt x="255757" y="0"/>
                    <a:pt x="216210" y="11188"/>
                    <a:pt x="181345" y="32002"/>
                  </a:cubicBezTo>
                  <a:lnTo>
                    <a:pt x="0" y="141537"/>
                  </a:lnTo>
                  <a:cubicBezTo>
                    <a:pt x="31742" y="194093"/>
                    <a:pt x="100169" y="210744"/>
                    <a:pt x="152726" y="179003"/>
                  </a:cubicBezTo>
                  <a:lnTo>
                    <a:pt x="345779" y="62183"/>
                  </a:lnTo>
                  <a:lnTo>
                    <a:pt x="538833" y="179003"/>
                  </a:lnTo>
                  <a:cubicBezTo>
                    <a:pt x="591389" y="210744"/>
                    <a:pt x="659556" y="194093"/>
                    <a:pt x="691559" y="141537"/>
                  </a:cubicBezTo>
                  <a:lnTo>
                    <a:pt x="510213" y="32002"/>
                  </a:lnTo>
                  <a:cubicBezTo>
                    <a:pt x="475609" y="11188"/>
                    <a:pt x="435802" y="0"/>
                    <a:pt x="395214" y="0"/>
                  </a:cubicBezTo>
                </a:path>
              </a:pathLst>
            </a:custGeom>
            <a:solidFill>
              <a:srgbClr val="F2DEC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4" name="Freihandform: Form 53">
              <a:extLst>
                <a:ext uri="{FF2B5EF4-FFF2-40B4-BE49-F238E27FC236}">
                  <a16:creationId xmlns:a16="http://schemas.microsoft.com/office/drawing/2014/main" id="{A2BD55E6-3C5D-27B8-8823-6B828C3A29E0}"/>
                </a:ext>
              </a:extLst>
            </p:cNvPr>
            <p:cNvSpPr/>
            <p:nvPr/>
          </p:nvSpPr>
          <p:spPr>
            <a:xfrm>
              <a:off x="1868612" y="3134328"/>
              <a:ext cx="363471" cy="211784"/>
            </a:xfrm>
            <a:custGeom>
              <a:avLst/>
              <a:gdLst>
                <a:gd name="connsiteX0" fmla="*/ 0 w 363471"/>
                <a:gd name="connsiteY0" fmla="*/ 0 h 211784"/>
                <a:gd name="connsiteX1" fmla="*/ 363472 w 363471"/>
                <a:gd name="connsiteY1" fmla="*/ 0 h 211784"/>
                <a:gd name="connsiteX2" fmla="*/ 363472 w 363471"/>
                <a:gd name="connsiteY2" fmla="*/ 211785 h 211784"/>
                <a:gd name="connsiteX3" fmla="*/ 0 w 363471"/>
                <a:gd name="connsiteY3" fmla="*/ 211785 h 21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3471" h="211784">
                  <a:moveTo>
                    <a:pt x="0" y="0"/>
                  </a:moveTo>
                  <a:lnTo>
                    <a:pt x="363472" y="0"/>
                  </a:lnTo>
                  <a:lnTo>
                    <a:pt x="363472" y="211785"/>
                  </a:lnTo>
                  <a:lnTo>
                    <a:pt x="0" y="211785"/>
                  </a:lnTo>
                  <a:close/>
                </a:path>
              </a:pathLst>
            </a:custGeom>
            <a:solidFill>
              <a:srgbClr val="E2C39A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5" name="Freihandform: Form 54">
              <a:extLst>
                <a:ext uri="{FF2B5EF4-FFF2-40B4-BE49-F238E27FC236}">
                  <a16:creationId xmlns:a16="http://schemas.microsoft.com/office/drawing/2014/main" id="{F5A97F2E-7205-D527-F923-6E1A1652B399}"/>
                </a:ext>
              </a:extLst>
            </p:cNvPr>
            <p:cNvSpPr/>
            <p:nvPr/>
          </p:nvSpPr>
          <p:spPr>
            <a:xfrm>
              <a:off x="2011972" y="3078910"/>
              <a:ext cx="111096" cy="111095"/>
            </a:xfrm>
            <a:custGeom>
              <a:avLst/>
              <a:gdLst>
                <a:gd name="connsiteX0" fmla="*/ 111097 w 111096"/>
                <a:gd name="connsiteY0" fmla="*/ 111096 h 111095"/>
                <a:gd name="connsiteX1" fmla="*/ 0 w 111096"/>
                <a:gd name="connsiteY1" fmla="*/ 111096 h 111095"/>
                <a:gd name="connsiteX2" fmla="*/ 0 w 111096"/>
                <a:gd name="connsiteY2" fmla="*/ 0 h 111095"/>
                <a:gd name="connsiteX3" fmla="*/ 111097 w 111096"/>
                <a:gd name="connsiteY3" fmla="*/ 13529 h 111095"/>
                <a:gd name="connsiteX4" fmla="*/ 111097 w 111096"/>
                <a:gd name="connsiteY4" fmla="*/ 111096 h 1110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1096" h="111095">
                  <a:moveTo>
                    <a:pt x="111097" y="111096"/>
                  </a:moveTo>
                  <a:lnTo>
                    <a:pt x="0" y="111096"/>
                  </a:lnTo>
                  <a:lnTo>
                    <a:pt x="0" y="0"/>
                  </a:lnTo>
                  <a:lnTo>
                    <a:pt x="111097" y="13529"/>
                  </a:lnTo>
                  <a:lnTo>
                    <a:pt x="111097" y="111096"/>
                  </a:lnTo>
                  <a:close/>
                </a:path>
              </a:pathLst>
            </a:custGeom>
            <a:solidFill>
              <a:srgbClr val="E2C39A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AAD7EA8D-4E36-0365-0BB3-73C24CA75217}"/>
                </a:ext>
              </a:extLst>
            </p:cNvPr>
            <p:cNvSpPr/>
            <p:nvPr/>
          </p:nvSpPr>
          <p:spPr>
            <a:xfrm rot="20571001">
              <a:off x="2159785" y="3148240"/>
              <a:ext cx="513074" cy="333548"/>
            </a:xfrm>
            <a:custGeom>
              <a:avLst/>
              <a:gdLst>
                <a:gd name="connsiteX0" fmla="*/ 0 w 513074"/>
                <a:gd name="connsiteY0" fmla="*/ 0 h 333548"/>
                <a:gd name="connsiteX1" fmla="*/ 513075 w 513074"/>
                <a:gd name="connsiteY1" fmla="*/ 0 h 333548"/>
                <a:gd name="connsiteX2" fmla="*/ 513075 w 513074"/>
                <a:gd name="connsiteY2" fmla="*/ 333548 h 333548"/>
                <a:gd name="connsiteX3" fmla="*/ 0 w 513074"/>
                <a:gd name="connsiteY3" fmla="*/ 333548 h 333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13074" h="333548">
                  <a:moveTo>
                    <a:pt x="0" y="0"/>
                  </a:moveTo>
                  <a:lnTo>
                    <a:pt x="513075" y="0"/>
                  </a:lnTo>
                  <a:lnTo>
                    <a:pt x="513075" y="333548"/>
                  </a:lnTo>
                  <a:lnTo>
                    <a:pt x="0" y="333548"/>
                  </a:lnTo>
                  <a:close/>
                </a:path>
              </a:pathLst>
            </a:custGeom>
            <a:solidFill>
              <a:srgbClr val="E2C39A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B7777B8B-B814-A119-97FE-1878403EB2C9}"/>
                </a:ext>
              </a:extLst>
            </p:cNvPr>
            <p:cNvSpPr/>
            <p:nvPr/>
          </p:nvSpPr>
          <p:spPr>
            <a:xfrm>
              <a:off x="1542855" y="3304212"/>
              <a:ext cx="238669" cy="293244"/>
            </a:xfrm>
            <a:custGeom>
              <a:avLst/>
              <a:gdLst>
                <a:gd name="connsiteX0" fmla="*/ 23688 w 238669"/>
                <a:gd name="connsiteY0" fmla="*/ 283086 h 293244"/>
                <a:gd name="connsiteX1" fmla="*/ 23688 w 238669"/>
                <a:gd name="connsiteY1" fmla="*/ 283086 h 293244"/>
                <a:gd name="connsiteX2" fmla="*/ 10159 w 238669"/>
                <a:gd name="connsiteY2" fmla="*/ 205813 h 293244"/>
                <a:gd name="connsiteX3" fmla="*/ 137647 w 238669"/>
                <a:gd name="connsiteY3" fmla="*/ 23688 h 293244"/>
                <a:gd name="connsiteX4" fmla="*/ 214921 w 238669"/>
                <a:gd name="connsiteY4" fmla="*/ 10159 h 293244"/>
                <a:gd name="connsiteX5" fmla="*/ 228710 w 238669"/>
                <a:gd name="connsiteY5" fmla="*/ 87432 h 293244"/>
                <a:gd name="connsiteX6" fmla="*/ 101222 w 238669"/>
                <a:gd name="connsiteY6" fmla="*/ 269556 h 293244"/>
                <a:gd name="connsiteX7" fmla="*/ 23949 w 238669"/>
                <a:gd name="connsiteY7" fmla="*/ 283086 h 293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8669" h="293244">
                  <a:moveTo>
                    <a:pt x="23688" y="283086"/>
                  </a:moveTo>
                  <a:lnTo>
                    <a:pt x="23688" y="283086"/>
                  </a:lnTo>
                  <a:cubicBezTo>
                    <a:pt x="-1549" y="265394"/>
                    <a:pt x="-7533" y="230790"/>
                    <a:pt x="10159" y="205813"/>
                  </a:cubicBezTo>
                  <a:lnTo>
                    <a:pt x="137647" y="23688"/>
                  </a:lnTo>
                  <a:cubicBezTo>
                    <a:pt x="155340" y="-1549"/>
                    <a:pt x="189943" y="-7533"/>
                    <a:pt x="214921" y="10159"/>
                  </a:cubicBezTo>
                  <a:cubicBezTo>
                    <a:pt x="240158" y="27851"/>
                    <a:pt x="246142" y="62455"/>
                    <a:pt x="228710" y="87432"/>
                  </a:cubicBezTo>
                  <a:lnTo>
                    <a:pt x="101222" y="269556"/>
                  </a:lnTo>
                  <a:cubicBezTo>
                    <a:pt x="83530" y="294794"/>
                    <a:pt x="48926" y="300778"/>
                    <a:pt x="23949" y="283086"/>
                  </a:cubicBezTo>
                </a:path>
              </a:pathLst>
            </a:custGeom>
            <a:solidFill>
              <a:srgbClr val="E2C39A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A5FD678F-9CBC-969B-EC49-7139CEF32B1A}"/>
                </a:ext>
              </a:extLst>
            </p:cNvPr>
            <p:cNvSpPr/>
            <p:nvPr/>
          </p:nvSpPr>
          <p:spPr>
            <a:xfrm>
              <a:off x="1500718" y="3051331"/>
              <a:ext cx="915449" cy="762708"/>
            </a:xfrm>
            <a:custGeom>
              <a:avLst/>
              <a:gdLst>
                <a:gd name="connsiteX0" fmla="*/ 884872 w 915449"/>
                <a:gd name="connsiteY0" fmla="*/ 419667 h 762708"/>
                <a:gd name="connsiteX1" fmla="*/ 885132 w 915449"/>
                <a:gd name="connsiteY1" fmla="*/ 419667 h 762708"/>
                <a:gd name="connsiteX2" fmla="*/ 294004 w 915449"/>
                <a:gd name="connsiteY2" fmla="*/ 0 h 762708"/>
                <a:gd name="connsiteX3" fmla="*/ 0 w 915449"/>
                <a:gd name="connsiteY3" fmla="*/ 422529 h 762708"/>
                <a:gd name="connsiteX4" fmla="*/ 462860 w 915449"/>
                <a:gd name="connsiteY4" fmla="*/ 749573 h 762708"/>
                <a:gd name="connsiteX5" fmla="*/ 501627 w 915449"/>
                <a:gd name="connsiteY5" fmla="*/ 762582 h 762708"/>
                <a:gd name="connsiteX6" fmla="*/ 546118 w 915449"/>
                <a:gd name="connsiteY6" fmla="*/ 736044 h 762708"/>
                <a:gd name="connsiteX7" fmla="*/ 548460 w 915449"/>
                <a:gd name="connsiteY7" fmla="*/ 731881 h 762708"/>
                <a:gd name="connsiteX8" fmla="*/ 591649 w 915449"/>
                <a:gd name="connsiteY8" fmla="*/ 708465 h 762708"/>
                <a:gd name="connsiteX9" fmla="*/ 592950 w 915449"/>
                <a:gd name="connsiteY9" fmla="*/ 708465 h 762708"/>
                <a:gd name="connsiteX10" fmla="*/ 644206 w 915449"/>
                <a:gd name="connsiteY10" fmla="*/ 681666 h 762708"/>
                <a:gd name="connsiteX11" fmla="*/ 652011 w 915449"/>
                <a:gd name="connsiteY11" fmla="*/ 669438 h 762708"/>
                <a:gd name="connsiteX12" fmla="*/ 696762 w 915449"/>
                <a:gd name="connsiteY12" fmla="*/ 643160 h 762708"/>
                <a:gd name="connsiteX13" fmla="*/ 710812 w 915449"/>
                <a:gd name="connsiteY13" fmla="*/ 643420 h 762708"/>
                <a:gd name="connsiteX14" fmla="*/ 771434 w 915449"/>
                <a:gd name="connsiteY14" fmla="*/ 600751 h 762708"/>
                <a:gd name="connsiteX15" fmla="*/ 774296 w 915449"/>
                <a:gd name="connsiteY15" fmla="*/ 594246 h 762708"/>
                <a:gd name="connsiteX16" fmla="*/ 821388 w 915449"/>
                <a:gd name="connsiteY16" fmla="*/ 566668 h 762708"/>
                <a:gd name="connsiteX17" fmla="*/ 825291 w 915449"/>
                <a:gd name="connsiteY17" fmla="*/ 567188 h 762708"/>
                <a:gd name="connsiteX18" fmla="*/ 908809 w 915449"/>
                <a:gd name="connsiteY18" fmla="*/ 516713 h 762708"/>
                <a:gd name="connsiteX19" fmla="*/ 884612 w 915449"/>
                <a:gd name="connsiteY19" fmla="*/ 419407 h 7627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15449" h="762708">
                  <a:moveTo>
                    <a:pt x="884872" y="419667"/>
                  </a:moveTo>
                  <a:lnTo>
                    <a:pt x="885132" y="419667"/>
                  </a:lnTo>
                  <a:cubicBezTo>
                    <a:pt x="885132" y="419667"/>
                    <a:pt x="294004" y="0"/>
                    <a:pt x="294004" y="0"/>
                  </a:cubicBezTo>
                  <a:lnTo>
                    <a:pt x="0" y="422529"/>
                  </a:lnTo>
                  <a:lnTo>
                    <a:pt x="462860" y="749573"/>
                  </a:lnTo>
                  <a:cubicBezTo>
                    <a:pt x="473007" y="758159"/>
                    <a:pt x="486016" y="763622"/>
                    <a:pt x="501627" y="762582"/>
                  </a:cubicBezTo>
                  <a:cubicBezTo>
                    <a:pt x="519840" y="761541"/>
                    <a:pt x="536751" y="751394"/>
                    <a:pt x="546118" y="736044"/>
                  </a:cubicBezTo>
                  <a:cubicBezTo>
                    <a:pt x="546898" y="734743"/>
                    <a:pt x="547679" y="733182"/>
                    <a:pt x="548460" y="731881"/>
                  </a:cubicBezTo>
                  <a:cubicBezTo>
                    <a:pt x="556525" y="716010"/>
                    <a:pt x="573697" y="707684"/>
                    <a:pt x="591649" y="708465"/>
                  </a:cubicBezTo>
                  <a:cubicBezTo>
                    <a:pt x="592170" y="708465"/>
                    <a:pt x="592430" y="708465"/>
                    <a:pt x="592950" y="708465"/>
                  </a:cubicBezTo>
                  <a:cubicBezTo>
                    <a:pt x="613244" y="708725"/>
                    <a:pt x="631717" y="697797"/>
                    <a:pt x="644206" y="681666"/>
                  </a:cubicBezTo>
                  <a:cubicBezTo>
                    <a:pt x="647328" y="677503"/>
                    <a:pt x="649930" y="673341"/>
                    <a:pt x="652011" y="669438"/>
                  </a:cubicBezTo>
                  <a:cubicBezTo>
                    <a:pt x="660857" y="652786"/>
                    <a:pt x="677769" y="641079"/>
                    <a:pt x="696762" y="643160"/>
                  </a:cubicBezTo>
                  <a:cubicBezTo>
                    <a:pt x="701445" y="643680"/>
                    <a:pt x="706129" y="643680"/>
                    <a:pt x="710812" y="643420"/>
                  </a:cubicBezTo>
                  <a:cubicBezTo>
                    <a:pt x="737090" y="641599"/>
                    <a:pt x="759466" y="624167"/>
                    <a:pt x="771434" y="600751"/>
                  </a:cubicBezTo>
                  <a:cubicBezTo>
                    <a:pt x="772475" y="598669"/>
                    <a:pt x="773515" y="596328"/>
                    <a:pt x="774296" y="594246"/>
                  </a:cubicBezTo>
                  <a:cubicBezTo>
                    <a:pt x="781841" y="575514"/>
                    <a:pt x="801094" y="564066"/>
                    <a:pt x="821388" y="566668"/>
                  </a:cubicBezTo>
                  <a:cubicBezTo>
                    <a:pt x="822689" y="566668"/>
                    <a:pt x="823990" y="566928"/>
                    <a:pt x="825291" y="567188"/>
                  </a:cubicBezTo>
                  <a:cubicBezTo>
                    <a:pt x="860676" y="570310"/>
                    <a:pt x="895019" y="549496"/>
                    <a:pt x="908809" y="516713"/>
                  </a:cubicBezTo>
                  <a:cubicBezTo>
                    <a:pt x="923899" y="480809"/>
                    <a:pt x="912191" y="441782"/>
                    <a:pt x="884612" y="419407"/>
                  </a:cubicBezTo>
                </a:path>
              </a:pathLst>
            </a:custGeom>
            <a:solidFill>
              <a:srgbClr val="F2DEC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A869A23D-A617-69BB-F43E-ADDECD2F6502}"/>
                </a:ext>
              </a:extLst>
            </p:cNvPr>
            <p:cNvSpPr/>
            <p:nvPr/>
          </p:nvSpPr>
          <p:spPr>
            <a:xfrm>
              <a:off x="1642776" y="3153581"/>
              <a:ext cx="167555" cy="68166"/>
            </a:xfrm>
            <a:custGeom>
              <a:avLst/>
              <a:gdLst>
                <a:gd name="connsiteX0" fmla="*/ 0 w 167555"/>
                <a:gd name="connsiteY0" fmla="*/ 0 h 68166"/>
                <a:gd name="connsiteX1" fmla="*/ 167556 w 167555"/>
                <a:gd name="connsiteY1" fmla="*/ 0 h 68166"/>
                <a:gd name="connsiteX2" fmla="*/ 167556 w 167555"/>
                <a:gd name="connsiteY2" fmla="*/ 68167 h 68166"/>
                <a:gd name="connsiteX3" fmla="*/ 0 w 167555"/>
                <a:gd name="connsiteY3" fmla="*/ 68167 h 681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7555" h="68166">
                  <a:moveTo>
                    <a:pt x="0" y="0"/>
                  </a:moveTo>
                  <a:lnTo>
                    <a:pt x="167556" y="0"/>
                  </a:lnTo>
                  <a:lnTo>
                    <a:pt x="167556" y="68167"/>
                  </a:lnTo>
                  <a:lnTo>
                    <a:pt x="0" y="68167"/>
                  </a:lnTo>
                  <a:close/>
                </a:path>
              </a:pathLst>
            </a:custGeom>
            <a:solidFill>
              <a:srgbClr val="F2DEC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7BC4B856-E233-B8D9-7493-D59D653FDC26}"/>
                </a:ext>
              </a:extLst>
            </p:cNvPr>
            <p:cNvSpPr/>
            <p:nvPr/>
          </p:nvSpPr>
          <p:spPr>
            <a:xfrm rot="17228999">
              <a:off x="1311084" y="3058007"/>
              <a:ext cx="333550" cy="513070"/>
            </a:xfrm>
            <a:custGeom>
              <a:avLst/>
              <a:gdLst>
                <a:gd name="connsiteX0" fmla="*/ 0 w 333550"/>
                <a:gd name="connsiteY0" fmla="*/ 0 h 513070"/>
                <a:gd name="connsiteX1" fmla="*/ 333551 w 333550"/>
                <a:gd name="connsiteY1" fmla="*/ 0 h 513070"/>
                <a:gd name="connsiteX2" fmla="*/ 333551 w 333550"/>
                <a:gd name="connsiteY2" fmla="*/ 513071 h 513070"/>
                <a:gd name="connsiteX3" fmla="*/ 0 w 333550"/>
                <a:gd name="connsiteY3" fmla="*/ 513071 h 513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3550" h="513070">
                  <a:moveTo>
                    <a:pt x="0" y="0"/>
                  </a:moveTo>
                  <a:lnTo>
                    <a:pt x="333551" y="0"/>
                  </a:lnTo>
                  <a:lnTo>
                    <a:pt x="333551" y="513071"/>
                  </a:lnTo>
                  <a:lnTo>
                    <a:pt x="0" y="513071"/>
                  </a:lnTo>
                  <a:close/>
                </a:path>
              </a:pathLst>
            </a:custGeom>
            <a:solidFill>
              <a:srgbClr val="F2DEC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FE774E7D-C18D-F172-D44C-E34E2A57DD04}"/>
                </a:ext>
              </a:extLst>
            </p:cNvPr>
            <p:cNvSpPr/>
            <p:nvPr/>
          </p:nvSpPr>
          <p:spPr>
            <a:xfrm>
              <a:off x="1677380" y="3036761"/>
              <a:ext cx="691298" cy="195088"/>
            </a:xfrm>
            <a:custGeom>
              <a:avLst/>
              <a:gdLst>
                <a:gd name="connsiteX0" fmla="*/ 395214 w 691298"/>
                <a:gd name="connsiteY0" fmla="*/ 0 h 195088"/>
                <a:gd name="connsiteX1" fmla="*/ 296345 w 691298"/>
                <a:gd name="connsiteY1" fmla="*/ 0 h 195088"/>
                <a:gd name="connsiteX2" fmla="*/ 181346 w 691298"/>
                <a:gd name="connsiteY2" fmla="*/ 32002 h 195088"/>
                <a:gd name="connsiteX3" fmla="*/ 0 w 691298"/>
                <a:gd name="connsiteY3" fmla="*/ 141537 h 195088"/>
                <a:gd name="connsiteX4" fmla="*/ 152726 w 691298"/>
                <a:gd name="connsiteY4" fmla="*/ 179003 h 195088"/>
                <a:gd name="connsiteX5" fmla="*/ 396254 w 691298"/>
                <a:gd name="connsiteY5" fmla="*/ 90802 h 195088"/>
                <a:gd name="connsiteX6" fmla="*/ 538573 w 691298"/>
                <a:gd name="connsiteY6" fmla="*/ 179003 h 195088"/>
                <a:gd name="connsiteX7" fmla="*/ 691298 w 691298"/>
                <a:gd name="connsiteY7" fmla="*/ 141537 h 195088"/>
                <a:gd name="connsiteX8" fmla="*/ 509953 w 691298"/>
                <a:gd name="connsiteY8" fmla="*/ 32002 h 195088"/>
                <a:gd name="connsiteX9" fmla="*/ 394953 w 691298"/>
                <a:gd name="connsiteY9" fmla="*/ 0 h 1950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1298" h="195088">
                  <a:moveTo>
                    <a:pt x="395214" y="0"/>
                  </a:moveTo>
                  <a:lnTo>
                    <a:pt x="296345" y="0"/>
                  </a:lnTo>
                  <a:cubicBezTo>
                    <a:pt x="255757" y="0"/>
                    <a:pt x="216210" y="11188"/>
                    <a:pt x="181346" y="32002"/>
                  </a:cubicBezTo>
                  <a:lnTo>
                    <a:pt x="0" y="141537"/>
                  </a:lnTo>
                  <a:cubicBezTo>
                    <a:pt x="31742" y="194093"/>
                    <a:pt x="90022" y="200337"/>
                    <a:pt x="152726" y="179003"/>
                  </a:cubicBezTo>
                  <a:lnTo>
                    <a:pt x="396254" y="90802"/>
                  </a:lnTo>
                  <a:lnTo>
                    <a:pt x="538573" y="179003"/>
                  </a:lnTo>
                  <a:cubicBezTo>
                    <a:pt x="591129" y="210744"/>
                    <a:pt x="659296" y="194093"/>
                    <a:pt x="691298" y="141537"/>
                  </a:cubicBezTo>
                  <a:lnTo>
                    <a:pt x="509953" y="32002"/>
                  </a:lnTo>
                  <a:cubicBezTo>
                    <a:pt x="475349" y="11188"/>
                    <a:pt x="435541" y="0"/>
                    <a:pt x="394953" y="0"/>
                  </a:cubicBezTo>
                </a:path>
              </a:pathLst>
            </a:custGeom>
            <a:solidFill>
              <a:srgbClr val="E2C39A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4" name="Freihandform: Form 63">
              <a:extLst>
                <a:ext uri="{FF2B5EF4-FFF2-40B4-BE49-F238E27FC236}">
                  <a16:creationId xmlns:a16="http://schemas.microsoft.com/office/drawing/2014/main" id="{FD9444BC-D509-6773-9FC6-30AE5160A4DE}"/>
                </a:ext>
              </a:extLst>
            </p:cNvPr>
            <p:cNvSpPr/>
            <p:nvPr/>
          </p:nvSpPr>
          <p:spPr>
            <a:xfrm>
              <a:off x="1816044" y="3494923"/>
              <a:ext cx="238669" cy="293244"/>
            </a:xfrm>
            <a:custGeom>
              <a:avLst/>
              <a:gdLst>
                <a:gd name="connsiteX0" fmla="*/ 23688 w 238669"/>
                <a:gd name="connsiteY0" fmla="*/ 283086 h 293244"/>
                <a:gd name="connsiteX1" fmla="*/ 23688 w 238669"/>
                <a:gd name="connsiteY1" fmla="*/ 283086 h 293244"/>
                <a:gd name="connsiteX2" fmla="*/ 10159 w 238669"/>
                <a:gd name="connsiteY2" fmla="*/ 205813 h 293244"/>
                <a:gd name="connsiteX3" fmla="*/ 137647 w 238669"/>
                <a:gd name="connsiteY3" fmla="*/ 23688 h 293244"/>
                <a:gd name="connsiteX4" fmla="*/ 214921 w 238669"/>
                <a:gd name="connsiteY4" fmla="*/ 10159 h 293244"/>
                <a:gd name="connsiteX5" fmla="*/ 228710 w 238669"/>
                <a:gd name="connsiteY5" fmla="*/ 87432 h 293244"/>
                <a:gd name="connsiteX6" fmla="*/ 101222 w 238669"/>
                <a:gd name="connsiteY6" fmla="*/ 269557 h 293244"/>
                <a:gd name="connsiteX7" fmla="*/ 23949 w 238669"/>
                <a:gd name="connsiteY7" fmla="*/ 283086 h 293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8669" h="293244">
                  <a:moveTo>
                    <a:pt x="23688" y="283086"/>
                  </a:moveTo>
                  <a:lnTo>
                    <a:pt x="23688" y="283086"/>
                  </a:lnTo>
                  <a:cubicBezTo>
                    <a:pt x="-1549" y="265394"/>
                    <a:pt x="-7533" y="230790"/>
                    <a:pt x="10159" y="205813"/>
                  </a:cubicBezTo>
                  <a:lnTo>
                    <a:pt x="137647" y="23688"/>
                  </a:lnTo>
                  <a:cubicBezTo>
                    <a:pt x="155339" y="-1549"/>
                    <a:pt x="189943" y="-7533"/>
                    <a:pt x="214921" y="10159"/>
                  </a:cubicBezTo>
                  <a:cubicBezTo>
                    <a:pt x="240158" y="27851"/>
                    <a:pt x="246142" y="62455"/>
                    <a:pt x="228710" y="87432"/>
                  </a:cubicBezTo>
                  <a:lnTo>
                    <a:pt x="101222" y="269557"/>
                  </a:lnTo>
                  <a:cubicBezTo>
                    <a:pt x="83530" y="294794"/>
                    <a:pt x="48926" y="300778"/>
                    <a:pt x="23949" y="283086"/>
                  </a:cubicBezTo>
                </a:path>
              </a:pathLst>
            </a:custGeom>
            <a:solidFill>
              <a:srgbClr val="E2C39A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5" name="Freihandform: Form 64">
              <a:extLst>
                <a:ext uri="{FF2B5EF4-FFF2-40B4-BE49-F238E27FC236}">
                  <a16:creationId xmlns:a16="http://schemas.microsoft.com/office/drawing/2014/main" id="{D67DAF0C-059E-288F-937D-73741E129C48}"/>
                </a:ext>
              </a:extLst>
            </p:cNvPr>
            <p:cNvSpPr/>
            <p:nvPr/>
          </p:nvSpPr>
          <p:spPr>
            <a:xfrm>
              <a:off x="1724721" y="3431699"/>
              <a:ext cx="238669" cy="293244"/>
            </a:xfrm>
            <a:custGeom>
              <a:avLst/>
              <a:gdLst>
                <a:gd name="connsiteX0" fmla="*/ 23688 w 238669"/>
                <a:gd name="connsiteY0" fmla="*/ 283086 h 293244"/>
                <a:gd name="connsiteX1" fmla="*/ 23688 w 238669"/>
                <a:gd name="connsiteY1" fmla="*/ 283086 h 293244"/>
                <a:gd name="connsiteX2" fmla="*/ 10159 w 238669"/>
                <a:gd name="connsiteY2" fmla="*/ 205813 h 293244"/>
                <a:gd name="connsiteX3" fmla="*/ 137647 w 238669"/>
                <a:gd name="connsiteY3" fmla="*/ 23688 h 293244"/>
                <a:gd name="connsiteX4" fmla="*/ 214921 w 238669"/>
                <a:gd name="connsiteY4" fmla="*/ 10159 h 293244"/>
                <a:gd name="connsiteX5" fmla="*/ 228710 w 238669"/>
                <a:gd name="connsiteY5" fmla="*/ 87432 h 293244"/>
                <a:gd name="connsiteX6" fmla="*/ 101222 w 238669"/>
                <a:gd name="connsiteY6" fmla="*/ 269557 h 293244"/>
                <a:gd name="connsiteX7" fmla="*/ 23949 w 238669"/>
                <a:gd name="connsiteY7" fmla="*/ 283086 h 293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8669" h="293244">
                  <a:moveTo>
                    <a:pt x="23688" y="283086"/>
                  </a:moveTo>
                  <a:lnTo>
                    <a:pt x="23688" y="283086"/>
                  </a:lnTo>
                  <a:cubicBezTo>
                    <a:pt x="-1549" y="265394"/>
                    <a:pt x="-7533" y="230790"/>
                    <a:pt x="10159" y="205813"/>
                  </a:cubicBezTo>
                  <a:lnTo>
                    <a:pt x="137647" y="23688"/>
                  </a:lnTo>
                  <a:cubicBezTo>
                    <a:pt x="155340" y="-1549"/>
                    <a:pt x="189943" y="-7533"/>
                    <a:pt x="214921" y="10159"/>
                  </a:cubicBezTo>
                  <a:cubicBezTo>
                    <a:pt x="240158" y="27851"/>
                    <a:pt x="246142" y="62455"/>
                    <a:pt x="228710" y="87432"/>
                  </a:cubicBezTo>
                  <a:lnTo>
                    <a:pt x="101222" y="269557"/>
                  </a:lnTo>
                  <a:cubicBezTo>
                    <a:pt x="83530" y="294794"/>
                    <a:pt x="48926" y="300778"/>
                    <a:pt x="23949" y="283086"/>
                  </a:cubicBezTo>
                </a:path>
              </a:pathLst>
            </a:custGeom>
            <a:solidFill>
              <a:srgbClr val="E2C39A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6" name="Freihandform: Form 65">
              <a:extLst>
                <a:ext uri="{FF2B5EF4-FFF2-40B4-BE49-F238E27FC236}">
                  <a16:creationId xmlns:a16="http://schemas.microsoft.com/office/drawing/2014/main" id="{A1615373-43F5-F453-1FFE-8DCBAE2D8A40}"/>
                </a:ext>
              </a:extLst>
            </p:cNvPr>
            <p:cNvSpPr/>
            <p:nvPr/>
          </p:nvSpPr>
          <p:spPr>
            <a:xfrm>
              <a:off x="1633658" y="3367956"/>
              <a:ext cx="238669" cy="293504"/>
            </a:xfrm>
            <a:custGeom>
              <a:avLst/>
              <a:gdLst>
                <a:gd name="connsiteX0" fmla="*/ 23689 w 238669"/>
                <a:gd name="connsiteY0" fmla="*/ 283086 h 293504"/>
                <a:gd name="connsiteX1" fmla="*/ 23689 w 238669"/>
                <a:gd name="connsiteY1" fmla="*/ 283086 h 293504"/>
                <a:gd name="connsiteX2" fmla="*/ 10159 w 238669"/>
                <a:gd name="connsiteY2" fmla="*/ 205813 h 293504"/>
                <a:gd name="connsiteX3" fmla="*/ 137647 w 238669"/>
                <a:gd name="connsiteY3" fmla="*/ 23688 h 293504"/>
                <a:gd name="connsiteX4" fmla="*/ 214921 w 238669"/>
                <a:gd name="connsiteY4" fmla="*/ 10159 h 293504"/>
                <a:gd name="connsiteX5" fmla="*/ 228710 w 238669"/>
                <a:gd name="connsiteY5" fmla="*/ 87692 h 293504"/>
                <a:gd name="connsiteX6" fmla="*/ 101222 w 238669"/>
                <a:gd name="connsiteY6" fmla="*/ 269817 h 293504"/>
                <a:gd name="connsiteX7" fmla="*/ 23949 w 238669"/>
                <a:gd name="connsiteY7" fmla="*/ 283346 h 293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38669" h="293504">
                  <a:moveTo>
                    <a:pt x="23689" y="283086"/>
                  </a:moveTo>
                  <a:lnTo>
                    <a:pt x="23689" y="283086"/>
                  </a:lnTo>
                  <a:cubicBezTo>
                    <a:pt x="-1549" y="265394"/>
                    <a:pt x="-7533" y="230790"/>
                    <a:pt x="10159" y="205813"/>
                  </a:cubicBezTo>
                  <a:lnTo>
                    <a:pt x="137647" y="23688"/>
                  </a:lnTo>
                  <a:cubicBezTo>
                    <a:pt x="155340" y="-1549"/>
                    <a:pt x="189943" y="-7533"/>
                    <a:pt x="214921" y="10159"/>
                  </a:cubicBezTo>
                  <a:cubicBezTo>
                    <a:pt x="240158" y="27851"/>
                    <a:pt x="246142" y="62455"/>
                    <a:pt x="228710" y="87692"/>
                  </a:cubicBezTo>
                  <a:lnTo>
                    <a:pt x="101222" y="269817"/>
                  </a:lnTo>
                  <a:cubicBezTo>
                    <a:pt x="83530" y="295054"/>
                    <a:pt x="48926" y="301038"/>
                    <a:pt x="23949" y="283346"/>
                  </a:cubicBezTo>
                </a:path>
              </a:pathLst>
            </a:custGeom>
            <a:solidFill>
              <a:srgbClr val="E2C39A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0" name="Freihandform: Form 69">
              <a:extLst>
                <a:ext uri="{FF2B5EF4-FFF2-40B4-BE49-F238E27FC236}">
                  <a16:creationId xmlns:a16="http://schemas.microsoft.com/office/drawing/2014/main" id="{632FC175-F3BA-4E04-3BCE-31255C5F3BBE}"/>
                </a:ext>
              </a:extLst>
            </p:cNvPr>
            <p:cNvSpPr/>
            <p:nvPr/>
          </p:nvSpPr>
          <p:spPr>
            <a:xfrm>
              <a:off x="2368678" y="2125618"/>
              <a:ext cx="1269158" cy="1370097"/>
            </a:xfrm>
            <a:custGeom>
              <a:avLst/>
              <a:gdLst>
                <a:gd name="connsiteX0" fmla="*/ 260 w 1269158"/>
                <a:gd name="connsiteY0" fmla="*/ 1005328 h 1370097"/>
                <a:gd name="connsiteX1" fmla="*/ 624432 w 1269158"/>
                <a:gd name="connsiteY1" fmla="*/ 801869 h 1370097"/>
                <a:gd name="connsiteX2" fmla="*/ 1011059 w 1269158"/>
                <a:gd name="connsiteY2" fmla="*/ 0 h 1370097"/>
                <a:gd name="connsiteX3" fmla="*/ 1269158 w 1269158"/>
                <a:gd name="connsiteY3" fmla="*/ 213866 h 1370097"/>
                <a:gd name="connsiteX4" fmla="*/ 906727 w 1269158"/>
                <a:gd name="connsiteY4" fmla="*/ 1049818 h 1370097"/>
                <a:gd name="connsiteX5" fmla="*/ 748798 w 1269158"/>
                <a:gd name="connsiteY5" fmla="*/ 1159613 h 1370097"/>
                <a:gd name="connsiteX6" fmla="*/ 97828 w 1269158"/>
                <a:gd name="connsiteY6" fmla="*/ 1370097 h 1370097"/>
                <a:gd name="connsiteX7" fmla="*/ 0 w 1269158"/>
                <a:gd name="connsiteY7" fmla="*/ 1005067 h 1370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69158" h="1370097">
                  <a:moveTo>
                    <a:pt x="260" y="1005328"/>
                  </a:moveTo>
                  <a:lnTo>
                    <a:pt x="624432" y="801869"/>
                  </a:lnTo>
                  <a:lnTo>
                    <a:pt x="1011059" y="0"/>
                  </a:lnTo>
                  <a:lnTo>
                    <a:pt x="1269158" y="213866"/>
                  </a:lnTo>
                  <a:lnTo>
                    <a:pt x="906727" y="1049818"/>
                  </a:lnTo>
                  <a:cubicBezTo>
                    <a:pt x="868481" y="1103675"/>
                    <a:pt x="812802" y="1142441"/>
                    <a:pt x="748798" y="1159613"/>
                  </a:cubicBezTo>
                  <a:lnTo>
                    <a:pt x="97828" y="1370097"/>
                  </a:lnTo>
                  <a:lnTo>
                    <a:pt x="0" y="1005067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1" name="Freihandform: Form 70">
              <a:extLst>
                <a:ext uri="{FF2B5EF4-FFF2-40B4-BE49-F238E27FC236}">
                  <a16:creationId xmlns:a16="http://schemas.microsoft.com/office/drawing/2014/main" id="{40A65C2D-AE82-A612-678C-77A82E15C1D4}"/>
                </a:ext>
              </a:extLst>
            </p:cNvPr>
            <p:cNvSpPr/>
            <p:nvPr/>
          </p:nvSpPr>
          <p:spPr>
            <a:xfrm>
              <a:off x="212567" y="2828619"/>
              <a:ext cx="1075063" cy="642639"/>
            </a:xfrm>
            <a:custGeom>
              <a:avLst/>
              <a:gdLst>
                <a:gd name="connsiteX0" fmla="*/ 1042541 w 1075063"/>
                <a:gd name="connsiteY0" fmla="*/ 642640 h 642639"/>
                <a:gd name="connsiteX1" fmla="*/ 0 w 1075063"/>
                <a:gd name="connsiteY1" fmla="*/ 335369 h 642639"/>
                <a:gd name="connsiteX2" fmla="*/ 2862 w 1075063"/>
                <a:gd name="connsiteY2" fmla="*/ 0 h 642639"/>
                <a:gd name="connsiteX3" fmla="*/ 1075064 w 1075063"/>
                <a:gd name="connsiteY3" fmla="*/ 220631 h 642639"/>
                <a:gd name="connsiteX4" fmla="*/ 1042541 w 1075063"/>
                <a:gd name="connsiteY4" fmla="*/ 642640 h 642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5063" h="642639">
                  <a:moveTo>
                    <a:pt x="1042541" y="642640"/>
                  </a:moveTo>
                  <a:lnTo>
                    <a:pt x="0" y="335369"/>
                  </a:lnTo>
                  <a:lnTo>
                    <a:pt x="2862" y="0"/>
                  </a:lnTo>
                  <a:lnTo>
                    <a:pt x="1075064" y="220631"/>
                  </a:lnTo>
                  <a:lnTo>
                    <a:pt x="1042541" y="642640"/>
                  </a:lnTo>
                  <a:close/>
                </a:path>
              </a:pathLst>
            </a:custGeom>
            <a:solidFill>
              <a:schemeClr val="bg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7F3B0D71-17FC-5B51-7125-D4EE02E190D6}"/>
                </a:ext>
              </a:extLst>
            </p:cNvPr>
            <p:cNvSpPr/>
            <p:nvPr/>
          </p:nvSpPr>
          <p:spPr>
            <a:xfrm>
              <a:off x="-167" y="2739471"/>
              <a:ext cx="482709" cy="482705"/>
            </a:xfrm>
            <a:custGeom>
              <a:avLst/>
              <a:gdLst>
                <a:gd name="connsiteX0" fmla="*/ 481241 w 482709"/>
                <a:gd name="connsiteY0" fmla="*/ 267891 h 482705"/>
                <a:gd name="connsiteX1" fmla="*/ 214816 w 482709"/>
                <a:gd name="connsiteY1" fmla="*/ 481237 h 482705"/>
                <a:gd name="connsiteX2" fmla="*/ 1469 w 482709"/>
                <a:gd name="connsiteY2" fmla="*/ 214814 h 482705"/>
                <a:gd name="connsiteX3" fmla="*/ 267893 w 482709"/>
                <a:gd name="connsiteY3" fmla="*/ 1469 h 482705"/>
                <a:gd name="connsiteX4" fmla="*/ 481241 w 482709"/>
                <a:gd name="connsiteY4" fmla="*/ 267631 h 482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82709" h="482705">
                  <a:moveTo>
                    <a:pt x="481241" y="267891"/>
                  </a:moveTo>
                  <a:cubicBezTo>
                    <a:pt x="466670" y="400321"/>
                    <a:pt x="347248" y="495807"/>
                    <a:pt x="214816" y="481237"/>
                  </a:cubicBezTo>
                  <a:cubicBezTo>
                    <a:pt x="82385" y="466667"/>
                    <a:pt x="-13101" y="347245"/>
                    <a:pt x="1469" y="214814"/>
                  </a:cubicBezTo>
                  <a:cubicBezTo>
                    <a:pt x="16039" y="82384"/>
                    <a:pt x="135461" y="-13101"/>
                    <a:pt x="267893" y="1469"/>
                  </a:cubicBezTo>
                  <a:cubicBezTo>
                    <a:pt x="400325" y="16039"/>
                    <a:pt x="495811" y="135200"/>
                    <a:pt x="481241" y="267631"/>
                  </a:cubicBezTo>
                </a:path>
              </a:pathLst>
            </a:custGeom>
            <a:solidFill>
              <a:srgbClr val="212A5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" name="Freihandform: Form 72">
              <a:extLst>
                <a:ext uri="{FF2B5EF4-FFF2-40B4-BE49-F238E27FC236}">
                  <a16:creationId xmlns:a16="http://schemas.microsoft.com/office/drawing/2014/main" id="{9F37B452-FE5A-6BFE-7F83-9CEA6797F6FB}"/>
                </a:ext>
              </a:extLst>
            </p:cNvPr>
            <p:cNvSpPr/>
            <p:nvPr/>
          </p:nvSpPr>
          <p:spPr>
            <a:xfrm>
              <a:off x="237804" y="2741459"/>
              <a:ext cx="1015100" cy="752512"/>
            </a:xfrm>
            <a:custGeom>
              <a:avLst/>
              <a:gdLst>
                <a:gd name="connsiteX0" fmla="*/ 895540 w 1015100"/>
                <a:gd name="connsiteY0" fmla="*/ 749833 h 752512"/>
                <a:gd name="connsiteX1" fmla="*/ 0 w 1015100"/>
                <a:gd name="connsiteY1" fmla="*/ 480809 h 752512"/>
                <a:gd name="connsiteX2" fmla="*/ 32523 w 1015100"/>
                <a:gd name="connsiteY2" fmla="*/ 0 h 752512"/>
                <a:gd name="connsiteX3" fmla="*/ 972033 w 1015100"/>
                <a:gd name="connsiteY3" fmla="*/ 225834 h 752512"/>
                <a:gd name="connsiteX4" fmla="*/ 1014702 w 1015100"/>
                <a:gd name="connsiteY4" fmla="*/ 286976 h 752512"/>
                <a:gd name="connsiteX5" fmla="*/ 967349 w 1015100"/>
                <a:gd name="connsiteY5" fmla="*/ 702481 h 752512"/>
                <a:gd name="connsiteX6" fmla="*/ 895279 w 1015100"/>
                <a:gd name="connsiteY6" fmla="*/ 750093 h 752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15100" h="752512">
                  <a:moveTo>
                    <a:pt x="895540" y="749833"/>
                  </a:moveTo>
                  <a:lnTo>
                    <a:pt x="0" y="480809"/>
                  </a:lnTo>
                  <a:lnTo>
                    <a:pt x="32523" y="0"/>
                  </a:lnTo>
                  <a:lnTo>
                    <a:pt x="972033" y="225834"/>
                  </a:lnTo>
                  <a:cubicBezTo>
                    <a:pt x="999612" y="232339"/>
                    <a:pt x="1018084" y="258617"/>
                    <a:pt x="1014702" y="286976"/>
                  </a:cubicBezTo>
                  <a:lnTo>
                    <a:pt x="967349" y="702481"/>
                  </a:lnTo>
                  <a:cubicBezTo>
                    <a:pt x="963447" y="737345"/>
                    <a:pt x="928843" y="760240"/>
                    <a:pt x="895279" y="750093"/>
                  </a:cubicBezTo>
                </a:path>
              </a:pathLst>
            </a:custGeom>
            <a:solidFill>
              <a:srgbClr val="212A5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2912B447-50E6-D7B9-77B4-D9EDD28C8D77}"/>
                </a:ext>
              </a:extLst>
            </p:cNvPr>
            <p:cNvSpPr/>
            <p:nvPr/>
          </p:nvSpPr>
          <p:spPr>
            <a:xfrm>
              <a:off x="3614420" y="5721538"/>
              <a:ext cx="555484" cy="1146604"/>
            </a:xfrm>
            <a:custGeom>
              <a:avLst/>
              <a:gdLst>
                <a:gd name="connsiteX0" fmla="*/ 13790 w 555484"/>
                <a:gd name="connsiteY0" fmla="*/ 5984 h 1146604"/>
                <a:gd name="connsiteX1" fmla="*/ 0 w 555484"/>
                <a:gd name="connsiteY1" fmla="*/ 1146604 h 1146604"/>
                <a:gd name="connsiteX2" fmla="*/ 555485 w 555484"/>
                <a:gd name="connsiteY2" fmla="*/ 1146604 h 1146604"/>
                <a:gd name="connsiteX3" fmla="*/ 521661 w 555484"/>
                <a:gd name="connsiteY3" fmla="*/ 0 h 1146604"/>
                <a:gd name="connsiteX4" fmla="*/ 13790 w 555484"/>
                <a:gd name="connsiteY4" fmla="*/ 5984 h 1146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5484" h="1146604">
                  <a:moveTo>
                    <a:pt x="13790" y="5984"/>
                  </a:moveTo>
                  <a:lnTo>
                    <a:pt x="0" y="1146604"/>
                  </a:lnTo>
                  <a:lnTo>
                    <a:pt x="555485" y="1146604"/>
                  </a:lnTo>
                  <a:lnTo>
                    <a:pt x="521661" y="0"/>
                  </a:lnTo>
                  <a:lnTo>
                    <a:pt x="13790" y="5984"/>
                  </a:lnTo>
                  <a:close/>
                </a:path>
              </a:pathLst>
            </a:custGeom>
            <a:solidFill>
              <a:srgbClr val="5C5C5C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" name="Freihandform: Form 74">
              <a:extLst>
                <a:ext uri="{FF2B5EF4-FFF2-40B4-BE49-F238E27FC236}">
                  <a16:creationId xmlns:a16="http://schemas.microsoft.com/office/drawing/2014/main" id="{7C197674-AF19-6025-91DE-C7D4C339B1B5}"/>
                </a:ext>
              </a:extLst>
            </p:cNvPr>
            <p:cNvSpPr/>
            <p:nvPr/>
          </p:nvSpPr>
          <p:spPr>
            <a:xfrm>
              <a:off x="3578515" y="3925269"/>
              <a:ext cx="595291" cy="1807976"/>
            </a:xfrm>
            <a:custGeom>
              <a:avLst/>
              <a:gdLst>
                <a:gd name="connsiteX0" fmla="*/ 49955 w 595291"/>
                <a:gd name="connsiteY0" fmla="*/ 1807977 h 1807976"/>
                <a:gd name="connsiteX1" fmla="*/ 0 w 595291"/>
                <a:gd name="connsiteY1" fmla="*/ 2602 h 1807976"/>
                <a:gd name="connsiteX2" fmla="*/ 595292 w 595291"/>
                <a:gd name="connsiteY2" fmla="*/ 0 h 1807976"/>
                <a:gd name="connsiteX3" fmla="*/ 557306 w 595291"/>
                <a:gd name="connsiteY3" fmla="*/ 1798611 h 1807976"/>
                <a:gd name="connsiteX4" fmla="*/ 49955 w 595291"/>
                <a:gd name="connsiteY4" fmla="*/ 1807717 h 1807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5291" h="1807976">
                  <a:moveTo>
                    <a:pt x="49955" y="1807977"/>
                  </a:moveTo>
                  <a:lnTo>
                    <a:pt x="0" y="2602"/>
                  </a:lnTo>
                  <a:lnTo>
                    <a:pt x="595292" y="0"/>
                  </a:lnTo>
                  <a:lnTo>
                    <a:pt x="557306" y="1798611"/>
                  </a:lnTo>
                  <a:cubicBezTo>
                    <a:pt x="557306" y="1798611"/>
                    <a:pt x="44751" y="1802513"/>
                    <a:pt x="49955" y="1807717"/>
                  </a:cubicBezTo>
                </a:path>
              </a:pathLst>
            </a:custGeom>
            <a:solidFill>
              <a:srgbClr val="5C5C5C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" name="Freihandform: Form 75">
              <a:extLst>
                <a:ext uri="{FF2B5EF4-FFF2-40B4-BE49-F238E27FC236}">
                  <a16:creationId xmlns:a16="http://schemas.microsoft.com/office/drawing/2014/main" id="{555875CC-700B-F916-71ED-BDD7110ECCEA}"/>
                </a:ext>
              </a:extLst>
            </p:cNvPr>
            <p:cNvSpPr/>
            <p:nvPr/>
          </p:nvSpPr>
          <p:spPr>
            <a:xfrm>
              <a:off x="3578252" y="3626842"/>
              <a:ext cx="595818" cy="595814"/>
            </a:xfrm>
            <a:custGeom>
              <a:avLst/>
              <a:gdLst>
                <a:gd name="connsiteX0" fmla="*/ 3 w 595818"/>
                <a:gd name="connsiteY0" fmla="*/ 299208 h 595814"/>
                <a:gd name="connsiteX1" fmla="*/ 299210 w 595818"/>
                <a:gd name="connsiteY1" fmla="*/ 595811 h 595814"/>
                <a:gd name="connsiteX2" fmla="*/ 595816 w 595818"/>
                <a:gd name="connsiteY2" fmla="*/ 296607 h 595814"/>
                <a:gd name="connsiteX3" fmla="*/ 296608 w 595818"/>
                <a:gd name="connsiteY3" fmla="*/ 3 h 595814"/>
                <a:gd name="connsiteX4" fmla="*/ 3 w 595818"/>
                <a:gd name="connsiteY4" fmla="*/ 299208 h 595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5818" h="595814">
                  <a:moveTo>
                    <a:pt x="3" y="299208"/>
                  </a:moveTo>
                  <a:cubicBezTo>
                    <a:pt x="784" y="463641"/>
                    <a:pt x="134516" y="596592"/>
                    <a:pt x="299210" y="595811"/>
                  </a:cubicBezTo>
                  <a:cubicBezTo>
                    <a:pt x="463644" y="595030"/>
                    <a:pt x="596596" y="461299"/>
                    <a:pt x="595816" y="296607"/>
                  </a:cubicBezTo>
                  <a:cubicBezTo>
                    <a:pt x="595035" y="132174"/>
                    <a:pt x="461302" y="-777"/>
                    <a:pt x="296608" y="3"/>
                  </a:cubicBezTo>
                  <a:cubicBezTo>
                    <a:pt x="132175" y="784"/>
                    <a:pt x="-777" y="134516"/>
                    <a:pt x="3" y="299208"/>
                  </a:cubicBezTo>
                </a:path>
              </a:pathLst>
            </a:custGeom>
            <a:solidFill>
              <a:srgbClr val="5C5C5C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7" name="Freihandform: Form 76">
              <a:extLst>
                <a:ext uri="{FF2B5EF4-FFF2-40B4-BE49-F238E27FC236}">
                  <a16:creationId xmlns:a16="http://schemas.microsoft.com/office/drawing/2014/main" id="{1D06D9E3-A86E-0DDE-DE9C-B527584AA9D6}"/>
                </a:ext>
              </a:extLst>
            </p:cNvPr>
            <p:cNvSpPr/>
            <p:nvPr/>
          </p:nvSpPr>
          <p:spPr>
            <a:xfrm>
              <a:off x="3627685" y="5468381"/>
              <a:ext cx="508660" cy="508395"/>
            </a:xfrm>
            <a:custGeom>
              <a:avLst/>
              <a:gdLst>
                <a:gd name="connsiteX0" fmla="*/ 264 w 508660"/>
                <a:gd name="connsiteY0" fmla="*/ 255239 h 508395"/>
                <a:gd name="connsiteX1" fmla="*/ 255501 w 508660"/>
                <a:gd name="connsiteY1" fmla="*/ 508392 h 508395"/>
                <a:gd name="connsiteX2" fmla="*/ 508656 w 508660"/>
                <a:gd name="connsiteY2" fmla="*/ 253157 h 508395"/>
                <a:gd name="connsiteX3" fmla="*/ 253159 w 508660"/>
                <a:gd name="connsiteY3" fmla="*/ 4 h 508395"/>
                <a:gd name="connsiteX4" fmla="*/ 4 w 508660"/>
                <a:gd name="connsiteY4" fmla="*/ 255239 h 508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660" h="508395">
                  <a:moveTo>
                    <a:pt x="264" y="255239"/>
                  </a:moveTo>
                  <a:cubicBezTo>
                    <a:pt x="785" y="395735"/>
                    <a:pt x="115264" y="509173"/>
                    <a:pt x="255501" y="508392"/>
                  </a:cubicBezTo>
                  <a:cubicBezTo>
                    <a:pt x="395998" y="507872"/>
                    <a:pt x="509437" y="393393"/>
                    <a:pt x="508656" y="253157"/>
                  </a:cubicBezTo>
                  <a:cubicBezTo>
                    <a:pt x="508136" y="112661"/>
                    <a:pt x="393657" y="-776"/>
                    <a:pt x="253159" y="4"/>
                  </a:cubicBezTo>
                  <a:cubicBezTo>
                    <a:pt x="112662" y="524"/>
                    <a:pt x="-777" y="115003"/>
                    <a:pt x="4" y="255239"/>
                  </a:cubicBezTo>
                </a:path>
              </a:pathLst>
            </a:custGeom>
            <a:solidFill>
              <a:srgbClr val="5C5C5C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8" name="Freihandform: Form 77">
              <a:extLst>
                <a:ext uri="{FF2B5EF4-FFF2-40B4-BE49-F238E27FC236}">
                  <a16:creationId xmlns:a16="http://schemas.microsoft.com/office/drawing/2014/main" id="{3412C323-CFB2-42A5-87E6-D355986ED074}"/>
                </a:ext>
              </a:extLst>
            </p:cNvPr>
            <p:cNvSpPr/>
            <p:nvPr/>
          </p:nvSpPr>
          <p:spPr>
            <a:xfrm>
              <a:off x="3556027" y="2836164"/>
              <a:ext cx="896433" cy="1089365"/>
            </a:xfrm>
            <a:custGeom>
              <a:avLst/>
              <a:gdLst>
                <a:gd name="connsiteX0" fmla="*/ 896173 w 896433"/>
                <a:gd name="connsiteY0" fmla="*/ 1089365 h 1089365"/>
                <a:gd name="connsiteX1" fmla="*/ 14943 w 896433"/>
                <a:gd name="connsiteY1" fmla="*/ 1089365 h 1089365"/>
                <a:gd name="connsiteX2" fmla="*/ 181198 w 896433"/>
                <a:gd name="connsiteY2" fmla="*/ 0 h 1089365"/>
                <a:gd name="connsiteX3" fmla="*/ 896433 w 896433"/>
                <a:gd name="connsiteY3" fmla="*/ 1069852 h 1089365"/>
                <a:gd name="connsiteX4" fmla="*/ 896433 w 896433"/>
                <a:gd name="connsiteY4" fmla="*/ 1074795 h 1089365"/>
                <a:gd name="connsiteX5" fmla="*/ 895913 w 896433"/>
                <a:gd name="connsiteY5" fmla="*/ 1089365 h 10893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96433" h="1089365">
                  <a:moveTo>
                    <a:pt x="896173" y="1089365"/>
                  </a:moveTo>
                  <a:lnTo>
                    <a:pt x="14943" y="1089365"/>
                  </a:lnTo>
                  <a:cubicBezTo>
                    <a:pt x="-49321" y="681666"/>
                    <a:pt x="110169" y="203719"/>
                    <a:pt x="181198" y="0"/>
                  </a:cubicBezTo>
                  <a:cubicBezTo>
                    <a:pt x="622203" y="169636"/>
                    <a:pt x="896433" y="552358"/>
                    <a:pt x="896433" y="1069852"/>
                  </a:cubicBezTo>
                  <a:cubicBezTo>
                    <a:pt x="896433" y="1071413"/>
                    <a:pt x="896433" y="1072974"/>
                    <a:pt x="896433" y="1074795"/>
                  </a:cubicBezTo>
                  <a:cubicBezTo>
                    <a:pt x="896433" y="1079739"/>
                    <a:pt x="896433" y="1084422"/>
                    <a:pt x="895913" y="1089365"/>
                  </a:cubicBezTo>
                </a:path>
              </a:pathLst>
            </a:custGeom>
            <a:solidFill>
              <a:srgbClr val="A9A9A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9" name="Freihandform: Form 78">
              <a:extLst>
                <a:ext uri="{FF2B5EF4-FFF2-40B4-BE49-F238E27FC236}">
                  <a16:creationId xmlns:a16="http://schemas.microsoft.com/office/drawing/2014/main" id="{589431E8-514A-529B-B5A4-E238699681E5}"/>
                </a:ext>
              </a:extLst>
            </p:cNvPr>
            <p:cNvSpPr/>
            <p:nvPr/>
          </p:nvSpPr>
          <p:spPr>
            <a:xfrm>
              <a:off x="3371672" y="2011140"/>
              <a:ext cx="1254067" cy="1413546"/>
            </a:xfrm>
            <a:custGeom>
              <a:avLst/>
              <a:gdLst>
                <a:gd name="connsiteX0" fmla="*/ 188891 w 1254067"/>
                <a:gd name="connsiteY0" fmla="*/ 1332111 h 1413546"/>
                <a:gd name="connsiteX1" fmla="*/ 0 w 1254067"/>
                <a:gd name="connsiteY1" fmla="*/ 233119 h 1413546"/>
                <a:gd name="connsiteX2" fmla="*/ 246130 w 1254067"/>
                <a:gd name="connsiteY2" fmla="*/ 0 h 1413546"/>
                <a:gd name="connsiteX3" fmla="*/ 1203073 w 1254067"/>
                <a:gd name="connsiteY3" fmla="*/ 0 h 1413546"/>
                <a:gd name="connsiteX4" fmla="*/ 1231692 w 1254067"/>
                <a:gd name="connsiteY4" fmla="*/ 26798 h 1413546"/>
                <a:gd name="connsiteX5" fmla="*/ 1254068 w 1254067"/>
                <a:gd name="connsiteY5" fmla="*/ 358005 h 1413546"/>
                <a:gd name="connsiteX6" fmla="*/ 1007157 w 1254067"/>
                <a:gd name="connsiteY6" fmla="*/ 1339656 h 1413546"/>
                <a:gd name="connsiteX7" fmla="*/ 912452 w 1254067"/>
                <a:gd name="connsiteY7" fmla="*/ 1413547 h 1413546"/>
                <a:gd name="connsiteX8" fmla="*/ 284897 w 1254067"/>
                <a:gd name="connsiteY8" fmla="*/ 1413547 h 1413546"/>
                <a:gd name="connsiteX9" fmla="*/ 188631 w 1254067"/>
                <a:gd name="connsiteY9" fmla="*/ 1332371 h 1413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54067" h="1413546">
                  <a:moveTo>
                    <a:pt x="188891" y="1332111"/>
                  </a:moveTo>
                  <a:lnTo>
                    <a:pt x="0" y="233119"/>
                  </a:lnTo>
                  <a:cubicBezTo>
                    <a:pt x="25237" y="97827"/>
                    <a:pt x="108755" y="0"/>
                    <a:pt x="246130" y="0"/>
                  </a:cubicBezTo>
                  <a:lnTo>
                    <a:pt x="1203073" y="0"/>
                  </a:lnTo>
                  <a:cubicBezTo>
                    <a:pt x="1218163" y="0"/>
                    <a:pt x="1230652" y="11708"/>
                    <a:pt x="1231692" y="26798"/>
                  </a:cubicBezTo>
                  <a:lnTo>
                    <a:pt x="1254068" y="358005"/>
                  </a:lnTo>
                  <a:lnTo>
                    <a:pt x="1007157" y="1339656"/>
                  </a:lnTo>
                  <a:cubicBezTo>
                    <a:pt x="996230" y="1383106"/>
                    <a:pt x="957203" y="1413547"/>
                    <a:pt x="912452" y="1413547"/>
                  </a:cubicBezTo>
                  <a:lnTo>
                    <a:pt x="284897" y="1413547"/>
                  </a:lnTo>
                  <a:cubicBezTo>
                    <a:pt x="237284" y="1413547"/>
                    <a:pt x="196696" y="1379204"/>
                    <a:pt x="188631" y="1332371"/>
                  </a:cubicBezTo>
                </a:path>
              </a:pathLst>
            </a:custGeom>
            <a:solidFill>
              <a:srgbClr val="E4DAD4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0" name="Freihandform: Form 79">
              <a:extLst>
                <a:ext uri="{FF2B5EF4-FFF2-40B4-BE49-F238E27FC236}">
                  <a16:creationId xmlns:a16="http://schemas.microsoft.com/office/drawing/2014/main" id="{E1C17A0F-C21D-8987-8DAB-20EE046A2066}"/>
                </a:ext>
              </a:extLst>
            </p:cNvPr>
            <p:cNvSpPr/>
            <p:nvPr/>
          </p:nvSpPr>
          <p:spPr>
            <a:xfrm>
              <a:off x="3955516" y="6725042"/>
              <a:ext cx="418112" cy="418110"/>
            </a:xfrm>
            <a:custGeom>
              <a:avLst/>
              <a:gdLst>
                <a:gd name="connsiteX0" fmla="*/ 261 w 418112"/>
                <a:gd name="connsiteY0" fmla="*/ 209966 h 418110"/>
                <a:gd name="connsiteX1" fmla="*/ 209966 w 418112"/>
                <a:gd name="connsiteY1" fmla="*/ 418108 h 418110"/>
                <a:gd name="connsiteX2" fmla="*/ 418110 w 418112"/>
                <a:gd name="connsiteY2" fmla="*/ 208145 h 418110"/>
                <a:gd name="connsiteX3" fmla="*/ 208145 w 418112"/>
                <a:gd name="connsiteY3" fmla="*/ 2 h 418110"/>
                <a:gd name="connsiteX4" fmla="*/ 1 w 418112"/>
                <a:gd name="connsiteY4" fmla="*/ 209706 h 418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8112" h="418110">
                  <a:moveTo>
                    <a:pt x="261" y="209966"/>
                  </a:moveTo>
                  <a:cubicBezTo>
                    <a:pt x="781" y="325485"/>
                    <a:pt x="94706" y="418628"/>
                    <a:pt x="209966" y="418108"/>
                  </a:cubicBezTo>
                  <a:cubicBezTo>
                    <a:pt x="325486" y="417588"/>
                    <a:pt x="418630" y="323664"/>
                    <a:pt x="418110" y="208145"/>
                  </a:cubicBezTo>
                  <a:cubicBezTo>
                    <a:pt x="417590" y="92886"/>
                    <a:pt x="323665" y="-518"/>
                    <a:pt x="208145" y="2"/>
                  </a:cubicBezTo>
                  <a:cubicBezTo>
                    <a:pt x="92885" y="523"/>
                    <a:pt x="-259" y="94447"/>
                    <a:pt x="1" y="209706"/>
                  </a:cubicBezTo>
                </a:path>
              </a:pathLst>
            </a:custGeom>
            <a:solidFill>
              <a:srgbClr val="E9CFA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1" name="Freihandform: Form 80">
              <a:extLst>
                <a:ext uri="{FF2B5EF4-FFF2-40B4-BE49-F238E27FC236}">
                  <a16:creationId xmlns:a16="http://schemas.microsoft.com/office/drawing/2014/main" id="{ED77DDDB-D09B-E454-1ED1-E8F2EA7CEAA7}"/>
                </a:ext>
              </a:extLst>
            </p:cNvPr>
            <p:cNvSpPr/>
            <p:nvPr/>
          </p:nvSpPr>
          <p:spPr>
            <a:xfrm>
              <a:off x="3955774" y="6725302"/>
              <a:ext cx="420193" cy="820343"/>
            </a:xfrm>
            <a:custGeom>
              <a:avLst/>
              <a:gdLst>
                <a:gd name="connsiteX0" fmla="*/ 420193 w 420193"/>
                <a:gd name="connsiteY0" fmla="*/ 818522 h 820343"/>
                <a:gd name="connsiteX1" fmla="*/ 2604 w 420193"/>
                <a:gd name="connsiteY1" fmla="*/ 820343 h 820343"/>
                <a:gd name="connsiteX2" fmla="*/ 523 w 420193"/>
                <a:gd name="connsiteY2" fmla="*/ 217771 h 820343"/>
                <a:gd name="connsiteX3" fmla="*/ 2 w 420193"/>
                <a:gd name="connsiteY3" fmla="*/ 209706 h 820343"/>
                <a:gd name="connsiteX4" fmla="*/ 208146 w 420193"/>
                <a:gd name="connsiteY4" fmla="*/ 2 h 820343"/>
                <a:gd name="connsiteX5" fmla="*/ 417852 w 420193"/>
                <a:gd name="connsiteY5" fmla="*/ 208145 h 820343"/>
                <a:gd name="connsiteX6" fmla="*/ 417852 w 420193"/>
                <a:gd name="connsiteY6" fmla="*/ 209185 h 820343"/>
                <a:gd name="connsiteX7" fmla="*/ 417852 w 420193"/>
                <a:gd name="connsiteY7" fmla="*/ 209185 h 820343"/>
                <a:gd name="connsiteX8" fmla="*/ 419933 w 420193"/>
                <a:gd name="connsiteY8" fmla="*/ 818522 h 820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193" h="820343">
                  <a:moveTo>
                    <a:pt x="420193" y="818522"/>
                  </a:moveTo>
                  <a:lnTo>
                    <a:pt x="2604" y="820343"/>
                  </a:lnTo>
                  <a:lnTo>
                    <a:pt x="523" y="217771"/>
                  </a:lnTo>
                  <a:cubicBezTo>
                    <a:pt x="523" y="215169"/>
                    <a:pt x="2" y="212307"/>
                    <a:pt x="2" y="209706"/>
                  </a:cubicBezTo>
                  <a:cubicBezTo>
                    <a:pt x="-518" y="94447"/>
                    <a:pt x="92627" y="263"/>
                    <a:pt x="208146" y="2"/>
                  </a:cubicBezTo>
                  <a:cubicBezTo>
                    <a:pt x="323406" y="-518"/>
                    <a:pt x="417591" y="92626"/>
                    <a:pt x="417852" y="208145"/>
                  </a:cubicBezTo>
                  <a:cubicBezTo>
                    <a:pt x="417852" y="208405"/>
                    <a:pt x="417852" y="208925"/>
                    <a:pt x="417852" y="209185"/>
                  </a:cubicBezTo>
                  <a:lnTo>
                    <a:pt x="417852" y="209185"/>
                  </a:lnTo>
                  <a:lnTo>
                    <a:pt x="419933" y="818522"/>
                  </a:lnTo>
                  <a:close/>
                </a:path>
              </a:pathLst>
            </a:custGeom>
            <a:solidFill>
              <a:srgbClr val="E9CFA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2" name="Freihandform: Form 81">
              <a:extLst>
                <a:ext uri="{FF2B5EF4-FFF2-40B4-BE49-F238E27FC236}">
                  <a16:creationId xmlns:a16="http://schemas.microsoft.com/office/drawing/2014/main" id="{02AED160-55E4-5712-0847-2C3F5D4C6DB0}"/>
                </a:ext>
              </a:extLst>
            </p:cNvPr>
            <p:cNvSpPr/>
            <p:nvPr/>
          </p:nvSpPr>
          <p:spPr>
            <a:xfrm>
              <a:off x="3891252" y="5721538"/>
              <a:ext cx="555484" cy="1146604"/>
            </a:xfrm>
            <a:custGeom>
              <a:avLst/>
              <a:gdLst>
                <a:gd name="connsiteX0" fmla="*/ 13790 w 555484"/>
                <a:gd name="connsiteY0" fmla="*/ 5984 h 1146604"/>
                <a:gd name="connsiteX1" fmla="*/ 0 w 555484"/>
                <a:gd name="connsiteY1" fmla="*/ 1146604 h 1146604"/>
                <a:gd name="connsiteX2" fmla="*/ 555485 w 555484"/>
                <a:gd name="connsiteY2" fmla="*/ 1146604 h 1146604"/>
                <a:gd name="connsiteX3" fmla="*/ 521661 w 555484"/>
                <a:gd name="connsiteY3" fmla="*/ 0 h 1146604"/>
                <a:gd name="connsiteX4" fmla="*/ 13790 w 555484"/>
                <a:gd name="connsiteY4" fmla="*/ 5984 h 1146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5484" h="1146604">
                  <a:moveTo>
                    <a:pt x="13790" y="5984"/>
                  </a:moveTo>
                  <a:lnTo>
                    <a:pt x="0" y="1146604"/>
                  </a:lnTo>
                  <a:lnTo>
                    <a:pt x="555485" y="1146604"/>
                  </a:lnTo>
                  <a:lnTo>
                    <a:pt x="521661" y="0"/>
                  </a:lnTo>
                  <a:lnTo>
                    <a:pt x="13790" y="5984"/>
                  </a:lnTo>
                  <a:close/>
                </a:path>
              </a:pathLst>
            </a:custGeom>
            <a:solidFill>
              <a:srgbClr val="A9A9A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3" name="Freihandform: Form 82">
              <a:extLst>
                <a:ext uri="{FF2B5EF4-FFF2-40B4-BE49-F238E27FC236}">
                  <a16:creationId xmlns:a16="http://schemas.microsoft.com/office/drawing/2014/main" id="{070567D5-73D5-079B-76AF-ED68EC3D1648}"/>
                </a:ext>
              </a:extLst>
            </p:cNvPr>
            <p:cNvSpPr/>
            <p:nvPr/>
          </p:nvSpPr>
          <p:spPr>
            <a:xfrm>
              <a:off x="3855347" y="3925269"/>
              <a:ext cx="595291" cy="1807976"/>
            </a:xfrm>
            <a:custGeom>
              <a:avLst/>
              <a:gdLst>
                <a:gd name="connsiteX0" fmla="*/ 49955 w 595291"/>
                <a:gd name="connsiteY0" fmla="*/ 1807977 h 1807976"/>
                <a:gd name="connsiteX1" fmla="*/ 0 w 595291"/>
                <a:gd name="connsiteY1" fmla="*/ 2602 h 1807976"/>
                <a:gd name="connsiteX2" fmla="*/ 595292 w 595291"/>
                <a:gd name="connsiteY2" fmla="*/ 0 h 1807976"/>
                <a:gd name="connsiteX3" fmla="*/ 557306 w 595291"/>
                <a:gd name="connsiteY3" fmla="*/ 1798611 h 1807976"/>
                <a:gd name="connsiteX4" fmla="*/ 49955 w 595291"/>
                <a:gd name="connsiteY4" fmla="*/ 1807717 h 1807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5291" h="1807976">
                  <a:moveTo>
                    <a:pt x="49955" y="1807977"/>
                  </a:moveTo>
                  <a:lnTo>
                    <a:pt x="0" y="2602"/>
                  </a:lnTo>
                  <a:lnTo>
                    <a:pt x="595292" y="0"/>
                  </a:lnTo>
                  <a:lnTo>
                    <a:pt x="557306" y="1798611"/>
                  </a:lnTo>
                  <a:cubicBezTo>
                    <a:pt x="557306" y="1798611"/>
                    <a:pt x="44751" y="1802513"/>
                    <a:pt x="49955" y="1807717"/>
                  </a:cubicBezTo>
                </a:path>
              </a:pathLst>
            </a:custGeom>
            <a:solidFill>
              <a:srgbClr val="A9A9A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4" name="Freihandform: Form 83">
              <a:extLst>
                <a:ext uri="{FF2B5EF4-FFF2-40B4-BE49-F238E27FC236}">
                  <a16:creationId xmlns:a16="http://schemas.microsoft.com/office/drawing/2014/main" id="{1E40139D-3B4C-FB7C-3726-EBB3C52255AA}"/>
                </a:ext>
              </a:extLst>
            </p:cNvPr>
            <p:cNvSpPr/>
            <p:nvPr/>
          </p:nvSpPr>
          <p:spPr>
            <a:xfrm>
              <a:off x="3855083" y="3626842"/>
              <a:ext cx="595819" cy="595814"/>
            </a:xfrm>
            <a:custGeom>
              <a:avLst/>
              <a:gdLst>
                <a:gd name="connsiteX0" fmla="*/ 3 w 595819"/>
                <a:gd name="connsiteY0" fmla="*/ 299208 h 595814"/>
                <a:gd name="connsiteX1" fmla="*/ 299210 w 595819"/>
                <a:gd name="connsiteY1" fmla="*/ 595811 h 595814"/>
                <a:gd name="connsiteX2" fmla="*/ 595816 w 595819"/>
                <a:gd name="connsiteY2" fmla="*/ 296607 h 595814"/>
                <a:gd name="connsiteX3" fmla="*/ 296609 w 595819"/>
                <a:gd name="connsiteY3" fmla="*/ 3 h 595814"/>
                <a:gd name="connsiteX4" fmla="*/ 3 w 595819"/>
                <a:gd name="connsiteY4" fmla="*/ 299208 h 595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5819" h="595814">
                  <a:moveTo>
                    <a:pt x="3" y="299208"/>
                  </a:moveTo>
                  <a:cubicBezTo>
                    <a:pt x="784" y="463641"/>
                    <a:pt x="134516" y="596592"/>
                    <a:pt x="299210" y="595811"/>
                  </a:cubicBezTo>
                  <a:cubicBezTo>
                    <a:pt x="463644" y="595030"/>
                    <a:pt x="596596" y="461299"/>
                    <a:pt x="595816" y="296607"/>
                  </a:cubicBezTo>
                  <a:cubicBezTo>
                    <a:pt x="595035" y="132174"/>
                    <a:pt x="461302" y="-777"/>
                    <a:pt x="296609" y="3"/>
                  </a:cubicBezTo>
                  <a:cubicBezTo>
                    <a:pt x="132175" y="784"/>
                    <a:pt x="-777" y="134516"/>
                    <a:pt x="3" y="299208"/>
                  </a:cubicBezTo>
                </a:path>
              </a:pathLst>
            </a:custGeom>
            <a:solidFill>
              <a:srgbClr val="5C5C5C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5" name="Freihandform: Form 84">
              <a:extLst>
                <a:ext uri="{FF2B5EF4-FFF2-40B4-BE49-F238E27FC236}">
                  <a16:creationId xmlns:a16="http://schemas.microsoft.com/office/drawing/2014/main" id="{48F2C30E-9F09-BABB-1C97-977173F6C9B6}"/>
                </a:ext>
              </a:extLst>
            </p:cNvPr>
            <p:cNvSpPr/>
            <p:nvPr/>
          </p:nvSpPr>
          <p:spPr>
            <a:xfrm>
              <a:off x="3904517" y="5468381"/>
              <a:ext cx="508659" cy="508395"/>
            </a:xfrm>
            <a:custGeom>
              <a:avLst/>
              <a:gdLst>
                <a:gd name="connsiteX0" fmla="*/ 264 w 508659"/>
                <a:gd name="connsiteY0" fmla="*/ 255239 h 508395"/>
                <a:gd name="connsiteX1" fmla="*/ 255501 w 508659"/>
                <a:gd name="connsiteY1" fmla="*/ 508392 h 508395"/>
                <a:gd name="connsiteX2" fmla="*/ 508656 w 508659"/>
                <a:gd name="connsiteY2" fmla="*/ 253157 h 508395"/>
                <a:gd name="connsiteX3" fmla="*/ 253159 w 508659"/>
                <a:gd name="connsiteY3" fmla="*/ 4 h 508395"/>
                <a:gd name="connsiteX4" fmla="*/ 4 w 508659"/>
                <a:gd name="connsiteY4" fmla="*/ 255239 h 508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08659" h="508395">
                  <a:moveTo>
                    <a:pt x="264" y="255239"/>
                  </a:moveTo>
                  <a:cubicBezTo>
                    <a:pt x="785" y="395735"/>
                    <a:pt x="115264" y="509173"/>
                    <a:pt x="255501" y="508392"/>
                  </a:cubicBezTo>
                  <a:cubicBezTo>
                    <a:pt x="395998" y="507872"/>
                    <a:pt x="509436" y="393393"/>
                    <a:pt x="508656" y="253157"/>
                  </a:cubicBezTo>
                  <a:cubicBezTo>
                    <a:pt x="508136" y="112661"/>
                    <a:pt x="393656" y="-776"/>
                    <a:pt x="253159" y="4"/>
                  </a:cubicBezTo>
                  <a:cubicBezTo>
                    <a:pt x="112662" y="524"/>
                    <a:pt x="-777" y="115003"/>
                    <a:pt x="4" y="255239"/>
                  </a:cubicBezTo>
                </a:path>
              </a:pathLst>
            </a:custGeom>
            <a:solidFill>
              <a:srgbClr val="A9A9A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6" name="Freihandform: Form 85">
              <a:extLst>
                <a:ext uri="{FF2B5EF4-FFF2-40B4-BE49-F238E27FC236}">
                  <a16:creationId xmlns:a16="http://schemas.microsoft.com/office/drawing/2014/main" id="{EF2E93BF-91F8-7480-4B68-BA3CDC5AD53B}"/>
                </a:ext>
              </a:extLst>
            </p:cNvPr>
            <p:cNvSpPr/>
            <p:nvPr/>
          </p:nvSpPr>
          <p:spPr>
            <a:xfrm>
              <a:off x="3563425" y="2011140"/>
              <a:ext cx="1003254" cy="835691"/>
            </a:xfrm>
            <a:custGeom>
              <a:avLst/>
              <a:gdLst>
                <a:gd name="connsiteX0" fmla="*/ 1000132 w 1003254"/>
                <a:gd name="connsiteY0" fmla="*/ 0 h 835691"/>
                <a:gd name="connsiteX1" fmla="*/ 0 w 1003254"/>
                <a:gd name="connsiteY1" fmla="*/ 0 h 835691"/>
                <a:gd name="connsiteX2" fmla="*/ 119943 w 1003254"/>
                <a:gd name="connsiteY2" fmla="*/ 835692 h 835691"/>
                <a:gd name="connsiteX3" fmla="*/ 699624 w 1003254"/>
                <a:gd name="connsiteY3" fmla="*/ 835692 h 835691"/>
                <a:gd name="connsiteX4" fmla="*/ 835958 w 1003254"/>
                <a:gd name="connsiteY4" fmla="*/ 726677 h 835691"/>
                <a:gd name="connsiteX5" fmla="*/ 1003254 w 1003254"/>
                <a:gd name="connsiteY5" fmla="*/ 152464 h 835691"/>
                <a:gd name="connsiteX6" fmla="*/ 1000132 w 1003254"/>
                <a:gd name="connsiteY6" fmla="*/ 0 h 835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03254" h="835691">
                  <a:moveTo>
                    <a:pt x="1000132" y="0"/>
                  </a:moveTo>
                  <a:lnTo>
                    <a:pt x="0" y="0"/>
                  </a:lnTo>
                  <a:lnTo>
                    <a:pt x="119943" y="835692"/>
                  </a:lnTo>
                  <a:lnTo>
                    <a:pt x="699624" y="835692"/>
                  </a:lnTo>
                  <a:lnTo>
                    <a:pt x="835958" y="726677"/>
                  </a:lnTo>
                  <a:lnTo>
                    <a:pt x="1003254" y="152464"/>
                  </a:lnTo>
                  <a:lnTo>
                    <a:pt x="1000132" y="0"/>
                  </a:lnTo>
                  <a:close/>
                </a:path>
              </a:pathLst>
            </a:custGeom>
            <a:solidFill>
              <a:srgbClr val="E4DAD4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" name="Freihandform: Form 86">
              <a:extLst>
                <a:ext uri="{FF2B5EF4-FFF2-40B4-BE49-F238E27FC236}">
                  <a16:creationId xmlns:a16="http://schemas.microsoft.com/office/drawing/2014/main" id="{90748A79-8824-AD1E-6404-F23EE4007068}"/>
                </a:ext>
              </a:extLst>
            </p:cNvPr>
            <p:cNvSpPr/>
            <p:nvPr/>
          </p:nvSpPr>
          <p:spPr>
            <a:xfrm>
              <a:off x="4355413" y="2011140"/>
              <a:ext cx="416288" cy="416284"/>
            </a:xfrm>
            <a:custGeom>
              <a:avLst/>
              <a:gdLst>
                <a:gd name="connsiteX0" fmla="*/ 0 w 416288"/>
                <a:gd name="connsiteY0" fmla="*/ 208142 h 416284"/>
                <a:gd name="connsiteX1" fmla="*/ 208144 w 416288"/>
                <a:gd name="connsiteY1" fmla="*/ 416285 h 416284"/>
                <a:gd name="connsiteX2" fmla="*/ 416288 w 416288"/>
                <a:gd name="connsiteY2" fmla="*/ 208142 h 416284"/>
                <a:gd name="connsiteX3" fmla="*/ 208144 w 416288"/>
                <a:gd name="connsiteY3" fmla="*/ 0 h 416284"/>
                <a:gd name="connsiteX4" fmla="*/ 0 w 416288"/>
                <a:gd name="connsiteY4" fmla="*/ 208142 h 416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288" h="416284">
                  <a:moveTo>
                    <a:pt x="0" y="208142"/>
                  </a:moveTo>
                  <a:cubicBezTo>
                    <a:pt x="0" y="323141"/>
                    <a:pt x="93144" y="416285"/>
                    <a:pt x="208144" y="416285"/>
                  </a:cubicBezTo>
                  <a:cubicBezTo>
                    <a:pt x="323144" y="416285"/>
                    <a:pt x="416288" y="323141"/>
                    <a:pt x="416288" y="208142"/>
                  </a:cubicBezTo>
                  <a:cubicBezTo>
                    <a:pt x="416288" y="93144"/>
                    <a:pt x="323144" y="0"/>
                    <a:pt x="208144" y="0"/>
                  </a:cubicBezTo>
                  <a:cubicBezTo>
                    <a:pt x="93144" y="0"/>
                    <a:pt x="0" y="93144"/>
                    <a:pt x="0" y="208142"/>
                  </a:cubicBezTo>
                </a:path>
              </a:pathLst>
            </a:custGeom>
            <a:solidFill>
              <a:srgbClr val="61452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8" name="Freihandform: Form 87">
              <a:extLst>
                <a:ext uri="{FF2B5EF4-FFF2-40B4-BE49-F238E27FC236}">
                  <a16:creationId xmlns:a16="http://schemas.microsoft.com/office/drawing/2014/main" id="{B588115E-70E4-FF9A-E7CA-8B397F6D759A}"/>
                </a:ext>
              </a:extLst>
            </p:cNvPr>
            <p:cNvSpPr/>
            <p:nvPr/>
          </p:nvSpPr>
          <p:spPr>
            <a:xfrm>
              <a:off x="3370892" y="2245821"/>
              <a:ext cx="507090" cy="618442"/>
            </a:xfrm>
            <a:custGeom>
              <a:avLst/>
              <a:gdLst>
                <a:gd name="connsiteX0" fmla="*/ 0 w 507090"/>
                <a:gd name="connsiteY0" fmla="*/ 0 h 618442"/>
                <a:gd name="connsiteX1" fmla="*/ 507091 w 507090"/>
                <a:gd name="connsiteY1" fmla="*/ 0 h 618442"/>
                <a:gd name="connsiteX2" fmla="*/ 507091 w 507090"/>
                <a:gd name="connsiteY2" fmla="*/ 618443 h 618442"/>
                <a:gd name="connsiteX3" fmla="*/ 189151 w 507090"/>
                <a:gd name="connsiteY3" fmla="*/ 618443 h 618442"/>
                <a:gd name="connsiteX4" fmla="*/ 0 w 507090"/>
                <a:gd name="connsiteY4" fmla="*/ 429294 h 618442"/>
                <a:gd name="connsiteX5" fmla="*/ 0 w 507090"/>
                <a:gd name="connsiteY5" fmla="*/ 0 h 618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07090" h="618442">
                  <a:moveTo>
                    <a:pt x="0" y="0"/>
                  </a:moveTo>
                  <a:lnTo>
                    <a:pt x="507091" y="0"/>
                  </a:lnTo>
                  <a:lnTo>
                    <a:pt x="507091" y="618443"/>
                  </a:lnTo>
                  <a:lnTo>
                    <a:pt x="189151" y="618443"/>
                  </a:lnTo>
                  <a:cubicBezTo>
                    <a:pt x="84559" y="618443"/>
                    <a:pt x="0" y="533625"/>
                    <a:pt x="0" y="42929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E4DAD4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9" name="Freihandform: Form 88">
              <a:extLst>
                <a:ext uri="{FF2B5EF4-FFF2-40B4-BE49-F238E27FC236}">
                  <a16:creationId xmlns:a16="http://schemas.microsoft.com/office/drawing/2014/main" id="{FD9F92A9-824E-066B-C1D4-B2FDE8A8F0AA}"/>
                </a:ext>
              </a:extLst>
            </p:cNvPr>
            <p:cNvSpPr/>
            <p:nvPr/>
          </p:nvSpPr>
          <p:spPr>
            <a:xfrm>
              <a:off x="3356842" y="2011140"/>
              <a:ext cx="416288" cy="416284"/>
            </a:xfrm>
            <a:custGeom>
              <a:avLst/>
              <a:gdLst>
                <a:gd name="connsiteX0" fmla="*/ 0 w 416288"/>
                <a:gd name="connsiteY0" fmla="*/ 208142 h 416284"/>
                <a:gd name="connsiteX1" fmla="*/ 208144 w 416288"/>
                <a:gd name="connsiteY1" fmla="*/ 416285 h 416284"/>
                <a:gd name="connsiteX2" fmla="*/ 416288 w 416288"/>
                <a:gd name="connsiteY2" fmla="*/ 208142 h 416284"/>
                <a:gd name="connsiteX3" fmla="*/ 208144 w 416288"/>
                <a:gd name="connsiteY3" fmla="*/ 0 h 416284"/>
                <a:gd name="connsiteX4" fmla="*/ 0 w 416288"/>
                <a:gd name="connsiteY4" fmla="*/ 208142 h 4162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288" h="416284">
                  <a:moveTo>
                    <a:pt x="0" y="208142"/>
                  </a:moveTo>
                  <a:cubicBezTo>
                    <a:pt x="0" y="323141"/>
                    <a:pt x="93144" y="416285"/>
                    <a:pt x="208144" y="416285"/>
                  </a:cubicBezTo>
                  <a:cubicBezTo>
                    <a:pt x="323144" y="416285"/>
                    <a:pt x="416288" y="323141"/>
                    <a:pt x="416288" y="208142"/>
                  </a:cubicBezTo>
                  <a:cubicBezTo>
                    <a:pt x="416288" y="93144"/>
                    <a:pt x="323144" y="0"/>
                    <a:pt x="208144" y="0"/>
                  </a:cubicBezTo>
                  <a:cubicBezTo>
                    <a:pt x="93144" y="0"/>
                    <a:pt x="0" y="93144"/>
                    <a:pt x="0" y="208142"/>
                  </a:cubicBezTo>
                </a:path>
              </a:pathLst>
            </a:custGeom>
            <a:solidFill>
              <a:srgbClr val="E4DAD4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0" name="Freihandform: Form 89">
              <a:extLst>
                <a:ext uri="{FF2B5EF4-FFF2-40B4-BE49-F238E27FC236}">
                  <a16:creationId xmlns:a16="http://schemas.microsoft.com/office/drawing/2014/main" id="{AA02B1C6-3431-D012-5EBD-F74500D0C60F}"/>
                </a:ext>
              </a:extLst>
            </p:cNvPr>
            <p:cNvSpPr/>
            <p:nvPr/>
          </p:nvSpPr>
          <p:spPr>
            <a:xfrm>
              <a:off x="3607656" y="2563802"/>
              <a:ext cx="841637" cy="308006"/>
            </a:xfrm>
            <a:custGeom>
              <a:avLst/>
              <a:gdLst>
                <a:gd name="connsiteX0" fmla="*/ 18993 w 841637"/>
                <a:gd name="connsiteY0" fmla="*/ 308006 h 308006"/>
                <a:gd name="connsiteX1" fmla="*/ 604138 w 841637"/>
                <a:gd name="connsiteY1" fmla="*/ 308006 h 308006"/>
                <a:gd name="connsiteX2" fmla="*/ 802395 w 841637"/>
                <a:gd name="connsiteY2" fmla="*/ 158404 h 308006"/>
                <a:gd name="connsiteX3" fmla="*/ 840902 w 841637"/>
                <a:gd name="connsiteY3" fmla="*/ 24152 h 308006"/>
                <a:gd name="connsiteX4" fmla="*/ 827893 w 841637"/>
                <a:gd name="connsiteY4" fmla="*/ 736 h 308006"/>
                <a:gd name="connsiteX5" fmla="*/ 804477 w 841637"/>
                <a:gd name="connsiteY5" fmla="*/ 13745 h 308006"/>
                <a:gd name="connsiteX6" fmla="*/ 765970 w 841637"/>
                <a:gd name="connsiteY6" fmla="*/ 147997 h 308006"/>
                <a:gd name="connsiteX7" fmla="*/ 604138 w 841637"/>
                <a:gd name="connsiteY7" fmla="*/ 270020 h 308006"/>
                <a:gd name="connsiteX8" fmla="*/ 18993 w 841637"/>
                <a:gd name="connsiteY8" fmla="*/ 270020 h 308006"/>
                <a:gd name="connsiteX9" fmla="*/ 0 w 841637"/>
                <a:gd name="connsiteY9" fmla="*/ 289013 h 308006"/>
                <a:gd name="connsiteX10" fmla="*/ 18993 w 841637"/>
                <a:gd name="connsiteY10" fmla="*/ 308006 h 308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41637" h="308006">
                  <a:moveTo>
                    <a:pt x="18993" y="308006"/>
                  </a:moveTo>
                  <a:lnTo>
                    <a:pt x="604138" y="308006"/>
                  </a:lnTo>
                  <a:cubicBezTo>
                    <a:pt x="695721" y="308006"/>
                    <a:pt x="777158" y="246604"/>
                    <a:pt x="802395" y="158404"/>
                  </a:cubicBezTo>
                  <a:lnTo>
                    <a:pt x="840902" y="24152"/>
                  </a:lnTo>
                  <a:cubicBezTo>
                    <a:pt x="843764" y="14005"/>
                    <a:pt x="838040" y="3598"/>
                    <a:pt x="827893" y="736"/>
                  </a:cubicBezTo>
                  <a:cubicBezTo>
                    <a:pt x="818006" y="-2126"/>
                    <a:pt x="807339" y="3598"/>
                    <a:pt x="804477" y="13745"/>
                  </a:cubicBezTo>
                  <a:lnTo>
                    <a:pt x="765970" y="147997"/>
                  </a:lnTo>
                  <a:cubicBezTo>
                    <a:pt x="745416" y="219806"/>
                    <a:pt x="678810" y="270020"/>
                    <a:pt x="604138" y="270020"/>
                  </a:cubicBezTo>
                  <a:lnTo>
                    <a:pt x="18993" y="270020"/>
                  </a:lnTo>
                  <a:cubicBezTo>
                    <a:pt x="8586" y="270020"/>
                    <a:pt x="0" y="278606"/>
                    <a:pt x="0" y="289013"/>
                  </a:cubicBezTo>
                  <a:cubicBezTo>
                    <a:pt x="0" y="299420"/>
                    <a:pt x="8326" y="308006"/>
                    <a:pt x="18993" y="308006"/>
                  </a:cubicBezTo>
                </a:path>
              </a:pathLst>
            </a:custGeom>
            <a:solidFill>
              <a:schemeClr val="accent1">
                <a:lumMod val="90000"/>
              </a:schemeClr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solidFill>
                  <a:srgbClr val="D3C3B9"/>
                </a:solidFill>
              </a:endParaRPr>
            </a:p>
          </p:txBody>
        </p:sp>
        <p:sp>
          <p:nvSpPr>
            <p:cNvPr id="91" name="Freihandform: Form 90">
              <a:extLst>
                <a:ext uri="{FF2B5EF4-FFF2-40B4-BE49-F238E27FC236}">
                  <a16:creationId xmlns:a16="http://schemas.microsoft.com/office/drawing/2014/main" id="{DE11D1B3-92C1-DEEB-3CCA-91D5C5676417}"/>
                </a:ext>
              </a:extLst>
            </p:cNvPr>
            <p:cNvSpPr/>
            <p:nvPr/>
          </p:nvSpPr>
          <p:spPr>
            <a:xfrm>
              <a:off x="4352811" y="2011140"/>
              <a:ext cx="273189" cy="796925"/>
            </a:xfrm>
            <a:custGeom>
              <a:avLst/>
              <a:gdLst>
                <a:gd name="connsiteX0" fmla="*/ 7545 w 273189"/>
                <a:gd name="connsiteY0" fmla="*/ 796925 h 796925"/>
                <a:gd name="connsiteX1" fmla="*/ 0 w 273189"/>
                <a:gd name="connsiteY1" fmla="*/ 778973 h 796925"/>
                <a:gd name="connsiteX2" fmla="*/ 195916 w 273189"/>
                <a:gd name="connsiteY2" fmla="*/ 0 h 796925"/>
                <a:gd name="connsiteX3" fmla="*/ 219852 w 273189"/>
                <a:gd name="connsiteY3" fmla="*/ 0 h 796925"/>
                <a:gd name="connsiteX4" fmla="*/ 251074 w 273189"/>
                <a:gd name="connsiteY4" fmla="*/ 29140 h 796925"/>
                <a:gd name="connsiteX5" fmla="*/ 273189 w 273189"/>
                <a:gd name="connsiteY5" fmla="*/ 358005 h 796925"/>
                <a:gd name="connsiteX6" fmla="*/ 208925 w 273189"/>
                <a:gd name="connsiteY6" fmla="*/ 613240 h 796925"/>
                <a:gd name="connsiteX7" fmla="*/ 7545 w 273189"/>
                <a:gd name="connsiteY7" fmla="*/ 796925 h 796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3189" h="796925">
                  <a:moveTo>
                    <a:pt x="7545" y="796925"/>
                  </a:moveTo>
                  <a:lnTo>
                    <a:pt x="0" y="778973"/>
                  </a:lnTo>
                  <a:lnTo>
                    <a:pt x="195916" y="0"/>
                  </a:lnTo>
                  <a:lnTo>
                    <a:pt x="219852" y="0"/>
                  </a:lnTo>
                  <a:cubicBezTo>
                    <a:pt x="236244" y="0"/>
                    <a:pt x="250033" y="12749"/>
                    <a:pt x="251074" y="29140"/>
                  </a:cubicBezTo>
                  <a:lnTo>
                    <a:pt x="273189" y="358005"/>
                  </a:lnTo>
                  <a:lnTo>
                    <a:pt x="208925" y="613240"/>
                  </a:lnTo>
                  <a:lnTo>
                    <a:pt x="7545" y="796925"/>
                  </a:lnTo>
                  <a:close/>
                </a:path>
              </a:pathLst>
            </a:custGeom>
            <a:solidFill>
              <a:srgbClr val="61452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2" name="Freihandform: Form 91">
              <a:extLst>
                <a:ext uri="{FF2B5EF4-FFF2-40B4-BE49-F238E27FC236}">
                  <a16:creationId xmlns:a16="http://schemas.microsoft.com/office/drawing/2014/main" id="{E4814341-4D2D-FA57-D1F7-A60E19DEE256}"/>
                </a:ext>
              </a:extLst>
            </p:cNvPr>
            <p:cNvSpPr/>
            <p:nvPr/>
          </p:nvSpPr>
          <p:spPr>
            <a:xfrm>
              <a:off x="3566792" y="3424427"/>
              <a:ext cx="885667" cy="930656"/>
            </a:xfrm>
            <a:custGeom>
              <a:avLst/>
              <a:gdLst>
                <a:gd name="connsiteX0" fmla="*/ 442581 w 885667"/>
                <a:gd name="connsiteY0" fmla="*/ 0 h 930656"/>
                <a:gd name="connsiteX1" fmla="*/ 884627 w 885667"/>
                <a:gd name="connsiteY1" fmla="*/ 424871 h 930656"/>
                <a:gd name="connsiteX2" fmla="*/ 885668 w 885667"/>
                <a:gd name="connsiteY2" fmla="*/ 481589 h 930656"/>
                <a:gd name="connsiteX3" fmla="*/ 885668 w 885667"/>
                <a:gd name="connsiteY3" fmla="*/ 486533 h 930656"/>
                <a:gd name="connsiteX4" fmla="*/ 434515 w 885667"/>
                <a:gd name="connsiteY4" fmla="*/ 930657 h 930656"/>
                <a:gd name="connsiteX5" fmla="*/ 402513 w 885667"/>
                <a:gd name="connsiteY5" fmla="*/ 930657 h 930656"/>
                <a:gd name="connsiteX6" fmla="*/ 58555 w 885667"/>
                <a:gd name="connsiteY6" fmla="*/ 703261 h 930656"/>
                <a:gd name="connsiteX7" fmla="*/ 6519 w 885667"/>
                <a:gd name="connsiteY7" fmla="*/ 516453 h 930656"/>
                <a:gd name="connsiteX8" fmla="*/ 442581 w 885667"/>
                <a:gd name="connsiteY8" fmla="*/ 260 h 930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85667" h="930656">
                  <a:moveTo>
                    <a:pt x="442581" y="0"/>
                  </a:moveTo>
                  <a:cubicBezTo>
                    <a:pt x="680125" y="0"/>
                    <a:pt x="875260" y="187588"/>
                    <a:pt x="884627" y="424871"/>
                  </a:cubicBezTo>
                  <a:cubicBezTo>
                    <a:pt x="885407" y="443604"/>
                    <a:pt x="885668" y="462596"/>
                    <a:pt x="885668" y="481589"/>
                  </a:cubicBezTo>
                  <a:cubicBezTo>
                    <a:pt x="885668" y="483151"/>
                    <a:pt x="885668" y="484972"/>
                    <a:pt x="885668" y="486533"/>
                  </a:cubicBezTo>
                  <a:cubicBezTo>
                    <a:pt x="884627" y="732921"/>
                    <a:pt x="680906" y="930657"/>
                    <a:pt x="434515" y="930657"/>
                  </a:cubicBezTo>
                  <a:lnTo>
                    <a:pt x="402513" y="930657"/>
                  </a:lnTo>
                  <a:cubicBezTo>
                    <a:pt x="252650" y="930657"/>
                    <a:pt x="114494" y="842196"/>
                    <a:pt x="58555" y="703261"/>
                  </a:cubicBezTo>
                  <a:cubicBezTo>
                    <a:pt x="34619" y="643680"/>
                    <a:pt x="17707" y="580977"/>
                    <a:pt x="6519" y="516453"/>
                  </a:cubicBezTo>
                  <a:cubicBezTo>
                    <a:pt x="-40053" y="246649"/>
                    <a:pt x="168872" y="260"/>
                    <a:pt x="442581" y="260"/>
                  </a:cubicBezTo>
                  <a:close/>
                </a:path>
              </a:pathLst>
            </a:custGeom>
            <a:solidFill>
              <a:srgbClr val="A9A9A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3" name="Freihandform: Form 92">
              <a:extLst>
                <a:ext uri="{FF2B5EF4-FFF2-40B4-BE49-F238E27FC236}">
                  <a16:creationId xmlns:a16="http://schemas.microsoft.com/office/drawing/2014/main" id="{6E83A29C-45EF-5F24-5252-093F8279C4AE}"/>
                </a:ext>
              </a:extLst>
            </p:cNvPr>
            <p:cNvSpPr/>
            <p:nvPr/>
          </p:nvSpPr>
          <p:spPr>
            <a:xfrm>
              <a:off x="4084472" y="2011140"/>
              <a:ext cx="541528" cy="1995565"/>
            </a:xfrm>
            <a:custGeom>
              <a:avLst/>
              <a:gdLst>
                <a:gd name="connsiteX0" fmla="*/ 488191 w 541528"/>
                <a:gd name="connsiteY0" fmla="*/ 0 h 1995565"/>
                <a:gd name="connsiteX1" fmla="*/ 74505 w 541528"/>
                <a:gd name="connsiteY1" fmla="*/ 0 h 1995565"/>
                <a:gd name="connsiteX2" fmla="*/ 9460 w 541528"/>
                <a:gd name="connsiteY2" fmla="*/ 426692 h 1995565"/>
                <a:gd name="connsiteX3" fmla="*/ 7379 w 541528"/>
                <a:gd name="connsiteY3" fmla="*/ 661633 h 1995565"/>
                <a:gd name="connsiteX4" fmla="*/ 123939 w 541528"/>
                <a:gd name="connsiteY4" fmla="*/ 1729923 h 1995565"/>
                <a:gd name="connsiteX5" fmla="*/ 496517 w 541528"/>
                <a:gd name="connsiteY5" fmla="*/ 1995565 h 1995565"/>
                <a:gd name="connsiteX6" fmla="*/ 445522 w 541528"/>
                <a:gd name="connsiteY6" fmla="*/ 1345641 h 1995565"/>
                <a:gd name="connsiteX7" fmla="*/ 541528 w 541528"/>
                <a:gd name="connsiteY7" fmla="*/ 235201 h 1995565"/>
                <a:gd name="connsiteX8" fmla="*/ 488191 w 541528"/>
                <a:gd name="connsiteY8" fmla="*/ 520 h 1995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41528" h="1995565">
                  <a:moveTo>
                    <a:pt x="488191" y="0"/>
                  </a:moveTo>
                  <a:lnTo>
                    <a:pt x="74505" y="0"/>
                  </a:lnTo>
                  <a:cubicBezTo>
                    <a:pt x="74505" y="0"/>
                    <a:pt x="9460" y="426692"/>
                    <a:pt x="9460" y="426692"/>
                  </a:cubicBezTo>
                  <a:cubicBezTo>
                    <a:pt x="-2508" y="504485"/>
                    <a:pt x="-3029" y="583579"/>
                    <a:pt x="7379" y="661633"/>
                  </a:cubicBezTo>
                  <a:lnTo>
                    <a:pt x="123939" y="1729923"/>
                  </a:lnTo>
                  <a:lnTo>
                    <a:pt x="496517" y="1995565"/>
                  </a:lnTo>
                  <a:lnTo>
                    <a:pt x="445522" y="1345641"/>
                  </a:lnTo>
                  <a:lnTo>
                    <a:pt x="541528" y="235201"/>
                  </a:lnTo>
                  <a:lnTo>
                    <a:pt x="488191" y="52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4" name="Freihandform: Form 93">
              <a:extLst>
                <a:ext uri="{FF2B5EF4-FFF2-40B4-BE49-F238E27FC236}">
                  <a16:creationId xmlns:a16="http://schemas.microsoft.com/office/drawing/2014/main" id="{D7BC2F61-F8EA-82A6-5367-FC5476811FF8}"/>
                </a:ext>
              </a:extLst>
            </p:cNvPr>
            <p:cNvSpPr/>
            <p:nvPr/>
          </p:nvSpPr>
          <p:spPr>
            <a:xfrm>
              <a:off x="3356582" y="2010880"/>
              <a:ext cx="407181" cy="1995825"/>
            </a:xfrm>
            <a:custGeom>
              <a:avLst/>
              <a:gdLst>
                <a:gd name="connsiteX0" fmla="*/ 65045 w 407181"/>
                <a:gd name="connsiteY0" fmla="*/ 936381 h 1995825"/>
                <a:gd name="connsiteX1" fmla="*/ 40588 w 407181"/>
                <a:gd name="connsiteY1" fmla="*/ 809934 h 1995825"/>
                <a:gd name="connsiteX2" fmla="*/ 9627 w 407181"/>
                <a:gd name="connsiteY2" fmla="*/ 598670 h 1995825"/>
                <a:gd name="connsiteX3" fmla="*/ 781 w 407181"/>
                <a:gd name="connsiteY3" fmla="*/ 227916 h 1995825"/>
                <a:gd name="connsiteX4" fmla="*/ 0 w 407181"/>
                <a:gd name="connsiteY4" fmla="*/ 208142 h 1995825"/>
                <a:gd name="connsiteX5" fmla="*/ 0 w 407181"/>
                <a:gd name="connsiteY5" fmla="*/ 205541 h 1995825"/>
                <a:gd name="connsiteX6" fmla="*/ 0 w 407181"/>
                <a:gd name="connsiteY6" fmla="*/ 200077 h 1995825"/>
                <a:gd name="connsiteX7" fmla="*/ 260 w 407181"/>
                <a:gd name="connsiteY7" fmla="*/ 199296 h 1995825"/>
                <a:gd name="connsiteX8" fmla="*/ 182386 w 407181"/>
                <a:gd name="connsiteY8" fmla="*/ 1821 h 1995825"/>
                <a:gd name="connsiteX9" fmla="*/ 182907 w 407181"/>
                <a:gd name="connsiteY9" fmla="*/ 1301 h 1995825"/>
                <a:gd name="connsiteX10" fmla="*/ 185508 w 407181"/>
                <a:gd name="connsiteY10" fmla="*/ 1301 h 1995825"/>
                <a:gd name="connsiteX11" fmla="*/ 208144 w 407181"/>
                <a:gd name="connsiteY11" fmla="*/ 0 h 1995825"/>
                <a:gd name="connsiteX12" fmla="*/ 227397 w 407181"/>
                <a:gd name="connsiteY12" fmla="*/ 1041 h 1995825"/>
                <a:gd name="connsiteX13" fmla="*/ 407182 w 407181"/>
                <a:gd name="connsiteY13" fmla="*/ 0 h 1995825"/>
                <a:gd name="connsiteX14" fmla="*/ 222714 w 407181"/>
                <a:gd name="connsiteY14" fmla="*/ 552878 h 1995825"/>
                <a:gd name="connsiteX15" fmla="*/ 280214 w 407181"/>
                <a:gd name="connsiteY15" fmla="*/ 1009230 h 1995825"/>
                <a:gd name="connsiteX16" fmla="*/ 304151 w 407181"/>
                <a:gd name="connsiteY16" fmla="*/ 1325347 h 1995825"/>
                <a:gd name="connsiteX17" fmla="*/ 307533 w 407181"/>
                <a:gd name="connsiteY17" fmla="*/ 1818644 h 1995825"/>
                <a:gd name="connsiteX18" fmla="*/ 131651 w 407181"/>
                <a:gd name="connsiteY18" fmla="*/ 1995825 h 1995825"/>
                <a:gd name="connsiteX19" fmla="*/ 111097 w 407181"/>
                <a:gd name="connsiteY19" fmla="*/ 1995825 h 1995825"/>
                <a:gd name="connsiteX20" fmla="*/ 48133 w 407181"/>
                <a:gd name="connsiteY20" fmla="*/ 1927138 h 1995825"/>
                <a:gd name="connsiteX21" fmla="*/ 85079 w 407181"/>
                <a:gd name="connsiteY21" fmla="*/ 1503308 h 1995825"/>
                <a:gd name="connsiteX22" fmla="*/ 64785 w 407181"/>
                <a:gd name="connsiteY22" fmla="*/ 936641 h 1995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07181" h="1995825">
                  <a:moveTo>
                    <a:pt x="65045" y="936381"/>
                  </a:moveTo>
                  <a:lnTo>
                    <a:pt x="40588" y="809934"/>
                  </a:lnTo>
                  <a:cubicBezTo>
                    <a:pt x="18993" y="741767"/>
                    <a:pt x="8586" y="670479"/>
                    <a:pt x="9627" y="598670"/>
                  </a:cubicBezTo>
                  <a:lnTo>
                    <a:pt x="781" y="227916"/>
                  </a:lnTo>
                  <a:cubicBezTo>
                    <a:pt x="260" y="221932"/>
                    <a:pt x="0" y="215427"/>
                    <a:pt x="0" y="208142"/>
                  </a:cubicBezTo>
                  <a:cubicBezTo>
                    <a:pt x="0" y="207102"/>
                    <a:pt x="0" y="206321"/>
                    <a:pt x="0" y="205541"/>
                  </a:cubicBezTo>
                  <a:lnTo>
                    <a:pt x="0" y="200077"/>
                  </a:lnTo>
                  <a:cubicBezTo>
                    <a:pt x="0" y="200077"/>
                    <a:pt x="260" y="199296"/>
                    <a:pt x="260" y="199296"/>
                  </a:cubicBezTo>
                  <a:cubicBezTo>
                    <a:pt x="4683" y="97046"/>
                    <a:pt x="82477" y="14050"/>
                    <a:pt x="182386" y="1821"/>
                  </a:cubicBezTo>
                  <a:lnTo>
                    <a:pt x="182907" y="1301"/>
                  </a:lnTo>
                  <a:lnTo>
                    <a:pt x="185508" y="1301"/>
                  </a:lnTo>
                  <a:cubicBezTo>
                    <a:pt x="193054" y="520"/>
                    <a:pt x="200599" y="0"/>
                    <a:pt x="208144" y="0"/>
                  </a:cubicBezTo>
                  <a:cubicBezTo>
                    <a:pt x="215429" y="0"/>
                    <a:pt x="221673" y="260"/>
                    <a:pt x="227397" y="1041"/>
                  </a:cubicBezTo>
                  <a:lnTo>
                    <a:pt x="407182" y="0"/>
                  </a:lnTo>
                  <a:lnTo>
                    <a:pt x="222714" y="552878"/>
                  </a:lnTo>
                  <a:lnTo>
                    <a:pt x="280214" y="1009230"/>
                  </a:lnTo>
                  <a:cubicBezTo>
                    <a:pt x="292182" y="1104195"/>
                    <a:pt x="297126" y="1216852"/>
                    <a:pt x="304151" y="1325347"/>
                  </a:cubicBezTo>
                  <a:lnTo>
                    <a:pt x="307533" y="1818644"/>
                  </a:lnTo>
                  <a:cubicBezTo>
                    <a:pt x="308313" y="1916211"/>
                    <a:pt x="229219" y="1995825"/>
                    <a:pt x="131651" y="1995825"/>
                  </a:cubicBezTo>
                  <a:lnTo>
                    <a:pt x="111097" y="1995825"/>
                  </a:lnTo>
                  <a:cubicBezTo>
                    <a:pt x="73891" y="1995825"/>
                    <a:pt x="44751" y="1964084"/>
                    <a:pt x="48133" y="1927138"/>
                  </a:cubicBezTo>
                  <a:lnTo>
                    <a:pt x="85079" y="1503308"/>
                  </a:lnTo>
                  <a:cubicBezTo>
                    <a:pt x="107715" y="1314419"/>
                    <a:pt x="100690" y="1123448"/>
                    <a:pt x="64785" y="936641"/>
                  </a:cubicBezTo>
                </a:path>
              </a:pathLst>
            </a:custGeom>
            <a:solidFill>
              <a:schemeClr val="bg2"/>
            </a:solidFill>
            <a:ln w="0" cap="flat">
              <a:solidFill>
                <a:schemeClr val="bg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5" name="Freihandform: Form 94">
              <a:extLst>
                <a:ext uri="{FF2B5EF4-FFF2-40B4-BE49-F238E27FC236}">
                  <a16:creationId xmlns:a16="http://schemas.microsoft.com/office/drawing/2014/main" id="{B0E6AAFA-1134-61EF-C1AF-5BF7698BDA4F}"/>
                </a:ext>
              </a:extLst>
            </p:cNvPr>
            <p:cNvSpPr/>
            <p:nvPr/>
          </p:nvSpPr>
          <p:spPr>
            <a:xfrm>
              <a:off x="4172677" y="3721720"/>
              <a:ext cx="294182" cy="294394"/>
            </a:xfrm>
            <a:custGeom>
              <a:avLst/>
              <a:gdLst>
                <a:gd name="connsiteX0" fmla="*/ 53687 w 294182"/>
                <a:gd name="connsiteY0" fmla="*/ 33653 h 294394"/>
                <a:gd name="connsiteX1" fmla="*/ 33393 w 294182"/>
                <a:gd name="connsiteY1" fmla="*/ 240754 h 294394"/>
                <a:gd name="connsiteX2" fmla="*/ 240496 w 294182"/>
                <a:gd name="connsiteY2" fmla="*/ 260788 h 294394"/>
                <a:gd name="connsiteX3" fmla="*/ 260790 w 294182"/>
                <a:gd name="connsiteY3" fmla="*/ 53686 h 294394"/>
                <a:gd name="connsiteX4" fmla="*/ 53687 w 294182"/>
                <a:gd name="connsiteY4" fmla="*/ 33392 h 294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4182" h="294394">
                  <a:moveTo>
                    <a:pt x="53687" y="33653"/>
                  </a:moveTo>
                  <a:cubicBezTo>
                    <a:pt x="-9017" y="85168"/>
                    <a:pt x="-18123" y="178051"/>
                    <a:pt x="33393" y="240754"/>
                  </a:cubicBezTo>
                  <a:cubicBezTo>
                    <a:pt x="84908" y="303457"/>
                    <a:pt x="177793" y="312563"/>
                    <a:pt x="240496" y="260788"/>
                  </a:cubicBezTo>
                  <a:cubicBezTo>
                    <a:pt x="303199" y="209013"/>
                    <a:pt x="312306" y="116389"/>
                    <a:pt x="260790" y="53686"/>
                  </a:cubicBezTo>
                  <a:cubicBezTo>
                    <a:pt x="209274" y="-9017"/>
                    <a:pt x="116390" y="-18123"/>
                    <a:pt x="53687" y="33392"/>
                  </a:cubicBezTo>
                </a:path>
              </a:pathLst>
            </a:custGeom>
            <a:solidFill>
              <a:srgbClr val="E9CFA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6" name="Freihandform: Form 95">
              <a:extLst>
                <a:ext uri="{FF2B5EF4-FFF2-40B4-BE49-F238E27FC236}">
                  <a16:creationId xmlns:a16="http://schemas.microsoft.com/office/drawing/2014/main" id="{980BA061-78BC-4396-F7D4-2F3DA4C18F4D}"/>
                </a:ext>
              </a:extLst>
            </p:cNvPr>
            <p:cNvSpPr/>
            <p:nvPr/>
          </p:nvSpPr>
          <p:spPr>
            <a:xfrm rot="19233599">
              <a:off x="4189081" y="3768302"/>
              <a:ext cx="148562" cy="294261"/>
            </a:xfrm>
            <a:custGeom>
              <a:avLst/>
              <a:gdLst>
                <a:gd name="connsiteX0" fmla="*/ 0 w 148562"/>
                <a:gd name="connsiteY0" fmla="*/ 0 h 294261"/>
                <a:gd name="connsiteX1" fmla="*/ 148563 w 148562"/>
                <a:gd name="connsiteY1" fmla="*/ 0 h 294261"/>
                <a:gd name="connsiteX2" fmla="*/ 148563 w 148562"/>
                <a:gd name="connsiteY2" fmla="*/ 294261 h 294261"/>
                <a:gd name="connsiteX3" fmla="*/ 0 w 148562"/>
                <a:gd name="connsiteY3" fmla="*/ 294261 h 294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8562" h="294261">
                  <a:moveTo>
                    <a:pt x="0" y="0"/>
                  </a:moveTo>
                  <a:lnTo>
                    <a:pt x="148563" y="0"/>
                  </a:lnTo>
                  <a:lnTo>
                    <a:pt x="148563" y="294261"/>
                  </a:lnTo>
                  <a:lnTo>
                    <a:pt x="0" y="294261"/>
                  </a:lnTo>
                  <a:close/>
                </a:path>
              </a:pathLst>
            </a:custGeom>
            <a:solidFill>
              <a:srgbClr val="E9CFA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7" name="Freihandform: Form 96">
              <a:extLst>
                <a:ext uri="{FF2B5EF4-FFF2-40B4-BE49-F238E27FC236}">
                  <a16:creationId xmlns:a16="http://schemas.microsoft.com/office/drawing/2014/main" id="{B4608E3D-2FC7-78A5-62EE-4F1732C47EEF}"/>
                </a:ext>
              </a:extLst>
            </p:cNvPr>
            <p:cNvSpPr/>
            <p:nvPr/>
          </p:nvSpPr>
          <p:spPr>
            <a:xfrm>
              <a:off x="4213094" y="3142654"/>
              <a:ext cx="908028" cy="833089"/>
            </a:xfrm>
            <a:custGeom>
              <a:avLst/>
              <a:gdLst>
                <a:gd name="connsiteX0" fmla="*/ 0 w 908028"/>
                <a:gd name="connsiteY0" fmla="*/ 603613 h 833089"/>
                <a:gd name="connsiteX1" fmla="*/ 671525 w 908028"/>
                <a:gd name="connsiteY1" fmla="*/ 0 h 833089"/>
                <a:gd name="connsiteX2" fmla="*/ 908029 w 908028"/>
                <a:gd name="connsiteY2" fmla="*/ 286976 h 833089"/>
                <a:gd name="connsiteX3" fmla="*/ 190192 w 908028"/>
                <a:gd name="connsiteY3" fmla="*/ 833090 h 833089"/>
                <a:gd name="connsiteX4" fmla="*/ 0 w 908028"/>
                <a:gd name="connsiteY4" fmla="*/ 603613 h 833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8028" h="833089">
                  <a:moveTo>
                    <a:pt x="0" y="603613"/>
                  </a:moveTo>
                  <a:lnTo>
                    <a:pt x="671525" y="0"/>
                  </a:lnTo>
                  <a:lnTo>
                    <a:pt x="908029" y="286976"/>
                  </a:lnTo>
                  <a:lnTo>
                    <a:pt x="190192" y="833090"/>
                  </a:lnTo>
                  <a:lnTo>
                    <a:pt x="0" y="603613"/>
                  </a:lnTo>
                  <a:close/>
                </a:path>
              </a:pathLst>
            </a:custGeom>
            <a:solidFill>
              <a:srgbClr val="E9CFA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9" name="Freihandform: Form 98">
              <a:extLst>
                <a:ext uri="{FF2B5EF4-FFF2-40B4-BE49-F238E27FC236}">
                  <a16:creationId xmlns:a16="http://schemas.microsoft.com/office/drawing/2014/main" id="{A15811EE-5414-66C1-BF5A-D072D23B17B1}"/>
                </a:ext>
              </a:extLst>
            </p:cNvPr>
            <p:cNvSpPr/>
            <p:nvPr/>
          </p:nvSpPr>
          <p:spPr>
            <a:xfrm>
              <a:off x="4369202" y="2138367"/>
              <a:ext cx="806037" cy="1221535"/>
            </a:xfrm>
            <a:custGeom>
              <a:avLst/>
              <a:gdLst>
                <a:gd name="connsiteX0" fmla="*/ 806038 w 806037"/>
                <a:gd name="connsiteY0" fmla="*/ 1078178 h 1221535"/>
                <a:gd name="connsiteX1" fmla="*/ 384286 w 806037"/>
                <a:gd name="connsiteY1" fmla="*/ 0 h 1221535"/>
                <a:gd name="connsiteX2" fmla="*/ 0 w 806037"/>
                <a:gd name="connsiteY2" fmla="*/ 160010 h 1221535"/>
                <a:gd name="connsiteX3" fmla="*/ 461820 w 806037"/>
                <a:gd name="connsiteY3" fmla="*/ 1221536 h 1221535"/>
                <a:gd name="connsiteX4" fmla="*/ 806038 w 806037"/>
                <a:gd name="connsiteY4" fmla="*/ 1078178 h 1221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6037" h="1221535">
                  <a:moveTo>
                    <a:pt x="806038" y="1078178"/>
                  </a:moveTo>
                  <a:lnTo>
                    <a:pt x="384286" y="0"/>
                  </a:lnTo>
                  <a:lnTo>
                    <a:pt x="0" y="160010"/>
                  </a:lnTo>
                  <a:lnTo>
                    <a:pt x="461820" y="1221536"/>
                  </a:lnTo>
                  <a:lnTo>
                    <a:pt x="806038" y="1078178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0" name="Freihandform: Form 99">
              <a:extLst>
                <a:ext uri="{FF2B5EF4-FFF2-40B4-BE49-F238E27FC236}">
                  <a16:creationId xmlns:a16="http://schemas.microsoft.com/office/drawing/2014/main" id="{7B2F9368-E205-38ED-86CC-5F2691A06702}"/>
                </a:ext>
              </a:extLst>
            </p:cNvPr>
            <p:cNvSpPr/>
            <p:nvPr/>
          </p:nvSpPr>
          <p:spPr>
            <a:xfrm>
              <a:off x="4353133" y="2010161"/>
              <a:ext cx="416424" cy="416420"/>
            </a:xfrm>
            <a:custGeom>
              <a:avLst/>
              <a:gdLst>
                <a:gd name="connsiteX0" fmla="*/ 16069 w 416424"/>
                <a:gd name="connsiteY0" fmla="*/ 288215 h 416420"/>
                <a:gd name="connsiteX1" fmla="*/ 288218 w 416424"/>
                <a:gd name="connsiteY1" fmla="*/ 400352 h 416420"/>
                <a:gd name="connsiteX2" fmla="*/ 400355 w 416424"/>
                <a:gd name="connsiteY2" fmla="*/ 128206 h 416420"/>
                <a:gd name="connsiteX3" fmla="*/ 128207 w 416424"/>
                <a:gd name="connsiteY3" fmla="*/ 16069 h 416420"/>
                <a:gd name="connsiteX4" fmla="*/ 16069 w 416424"/>
                <a:gd name="connsiteY4" fmla="*/ 288215 h 4164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6424" h="416420">
                  <a:moveTo>
                    <a:pt x="16069" y="288215"/>
                  </a:moveTo>
                  <a:cubicBezTo>
                    <a:pt x="60300" y="394368"/>
                    <a:pt x="182064" y="444582"/>
                    <a:pt x="288218" y="400352"/>
                  </a:cubicBezTo>
                  <a:cubicBezTo>
                    <a:pt x="394371" y="356122"/>
                    <a:pt x="444586" y="234358"/>
                    <a:pt x="400355" y="128206"/>
                  </a:cubicBezTo>
                  <a:cubicBezTo>
                    <a:pt x="356125" y="22053"/>
                    <a:pt x="234360" y="-28161"/>
                    <a:pt x="128207" y="16069"/>
                  </a:cubicBezTo>
                  <a:cubicBezTo>
                    <a:pt x="22053" y="60299"/>
                    <a:pt x="-28161" y="182063"/>
                    <a:pt x="16069" y="288215"/>
                  </a:cubicBezTo>
                </a:path>
              </a:pathLst>
            </a:custGeom>
            <a:solidFill>
              <a:schemeClr val="bg2"/>
            </a:solidFill>
            <a:ln w="0" cap="flat">
              <a:solidFill>
                <a:schemeClr val="bg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1" name="Freihandform: Form 100">
              <a:extLst>
                <a:ext uri="{FF2B5EF4-FFF2-40B4-BE49-F238E27FC236}">
                  <a16:creationId xmlns:a16="http://schemas.microsoft.com/office/drawing/2014/main" id="{B8725A26-2457-E0DF-C875-51ED100CCD08}"/>
                </a:ext>
              </a:extLst>
            </p:cNvPr>
            <p:cNvSpPr/>
            <p:nvPr/>
          </p:nvSpPr>
          <p:spPr>
            <a:xfrm>
              <a:off x="4815892" y="3099945"/>
              <a:ext cx="372917" cy="372914"/>
            </a:xfrm>
            <a:custGeom>
              <a:avLst/>
              <a:gdLst>
                <a:gd name="connsiteX0" fmla="*/ 14350 w 372917"/>
                <a:gd name="connsiteY0" fmla="*/ 258136 h 372914"/>
                <a:gd name="connsiteX1" fmla="*/ 258138 w 372917"/>
                <a:gd name="connsiteY1" fmla="*/ 358565 h 372914"/>
                <a:gd name="connsiteX2" fmla="*/ 358568 w 372917"/>
                <a:gd name="connsiteY2" fmla="*/ 114778 h 372914"/>
                <a:gd name="connsiteX3" fmla="*/ 114779 w 372917"/>
                <a:gd name="connsiteY3" fmla="*/ 14350 h 372914"/>
                <a:gd name="connsiteX4" fmla="*/ 14350 w 372917"/>
                <a:gd name="connsiteY4" fmla="*/ 258136 h 372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2917" h="372914">
                  <a:moveTo>
                    <a:pt x="14350" y="258136"/>
                  </a:moveTo>
                  <a:cubicBezTo>
                    <a:pt x="53897" y="353101"/>
                    <a:pt x="163173" y="398112"/>
                    <a:pt x="258138" y="358565"/>
                  </a:cubicBezTo>
                  <a:cubicBezTo>
                    <a:pt x="353104" y="319018"/>
                    <a:pt x="398115" y="209743"/>
                    <a:pt x="358568" y="114778"/>
                  </a:cubicBezTo>
                  <a:cubicBezTo>
                    <a:pt x="319021" y="19813"/>
                    <a:pt x="209745" y="-25198"/>
                    <a:pt x="114779" y="14350"/>
                  </a:cubicBezTo>
                  <a:cubicBezTo>
                    <a:pt x="19813" y="53897"/>
                    <a:pt x="-25198" y="163171"/>
                    <a:pt x="14350" y="258136"/>
                  </a:cubicBezTo>
                </a:path>
              </a:pathLst>
            </a:custGeom>
            <a:solidFill>
              <a:schemeClr val="bg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2" name="Freihandform: Form 101">
              <a:extLst>
                <a:ext uri="{FF2B5EF4-FFF2-40B4-BE49-F238E27FC236}">
                  <a16:creationId xmlns:a16="http://schemas.microsoft.com/office/drawing/2014/main" id="{2EA88D7C-3C68-7675-0B03-5FB4BC341E82}"/>
                </a:ext>
              </a:extLst>
            </p:cNvPr>
            <p:cNvSpPr/>
            <p:nvPr/>
          </p:nvSpPr>
          <p:spPr>
            <a:xfrm>
              <a:off x="4208411" y="3142654"/>
              <a:ext cx="915313" cy="860668"/>
            </a:xfrm>
            <a:custGeom>
              <a:avLst/>
              <a:gdLst>
                <a:gd name="connsiteX0" fmla="*/ 0 w 915313"/>
                <a:gd name="connsiteY0" fmla="*/ 598149 h 860668"/>
                <a:gd name="connsiteX1" fmla="*/ 676208 w 915313"/>
                <a:gd name="connsiteY1" fmla="*/ 0 h 860668"/>
                <a:gd name="connsiteX2" fmla="*/ 915313 w 915313"/>
                <a:gd name="connsiteY2" fmla="*/ 285155 h 860668"/>
                <a:gd name="connsiteX3" fmla="*/ 217771 w 915313"/>
                <a:gd name="connsiteY3" fmla="*/ 860669 h 860668"/>
                <a:gd name="connsiteX4" fmla="*/ 0 w 915313"/>
                <a:gd name="connsiteY4" fmla="*/ 598149 h 860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5313" h="860668">
                  <a:moveTo>
                    <a:pt x="0" y="598149"/>
                  </a:moveTo>
                  <a:lnTo>
                    <a:pt x="676208" y="0"/>
                  </a:lnTo>
                  <a:lnTo>
                    <a:pt x="915313" y="285155"/>
                  </a:lnTo>
                  <a:lnTo>
                    <a:pt x="217771" y="860669"/>
                  </a:lnTo>
                  <a:lnTo>
                    <a:pt x="0" y="598149"/>
                  </a:lnTo>
                  <a:close/>
                </a:path>
              </a:pathLst>
            </a:custGeom>
            <a:solidFill>
              <a:srgbClr val="FE8F1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3" name="Freihandform: Form 102">
              <a:extLst>
                <a:ext uri="{FF2B5EF4-FFF2-40B4-BE49-F238E27FC236}">
                  <a16:creationId xmlns:a16="http://schemas.microsoft.com/office/drawing/2014/main" id="{97CA448D-EEC1-C774-758B-A071770FFD2F}"/>
                </a:ext>
              </a:extLst>
            </p:cNvPr>
            <p:cNvSpPr/>
            <p:nvPr/>
          </p:nvSpPr>
          <p:spPr>
            <a:xfrm>
              <a:off x="4416555" y="3897690"/>
              <a:ext cx="164693" cy="108754"/>
            </a:xfrm>
            <a:custGeom>
              <a:avLst/>
              <a:gdLst>
                <a:gd name="connsiteX0" fmla="*/ 164694 w 164693"/>
                <a:gd name="connsiteY0" fmla="*/ 108754 h 108754"/>
                <a:gd name="connsiteX1" fmla="*/ 9627 w 164693"/>
                <a:gd name="connsiteY1" fmla="*/ 105632 h 108754"/>
                <a:gd name="connsiteX2" fmla="*/ 0 w 164693"/>
                <a:gd name="connsiteY2" fmla="*/ 0 h 108754"/>
                <a:gd name="connsiteX3" fmla="*/ 103031 w 164693"/>
                <a:gd name="connsiteY3" fmla="*/ 0 h 108754"/>
                <a:gd name="connsiteX4" fmla="*/ 164694 w 164693"/>
                <a:gd name="connsiteY4" fmla="*/ 108754 h 108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693" h="108754">
                  <a:moveTo>
                    <a:pt x="164694" y="108754"/>
                  </a:moveTo>
                  <a:lnTo>
                    <a:pt x="9627" y="105632"/>
                  </a:lnTo>
                  <a:lnTo>
                    <a:pt x="0" y="0"/>
                  </a:lnTo>
                  <a:lnTo>
                    <a:pt x="103031" y="0"/>
                  </a:lnTo>
                  <a:lnTo>
                    <a:pt x="164694" y="108754"/>
                  </a:lnTo>
                  <a:close/>
                </a:path>
              </a:pathLst>
            </a:custGeom>
            <a:solidFill>
              <a:srgbClr val="FE8F1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4" name="Freihandform: Form 103">
              <a:extLst>
                <a:ext uri="{FF2B5EF4-FFF2-40B4-BE49-F238E27FC236}">
                  <a16:creationId xmlns:a16="http://schemas.microsoft.com/office/drawing/2014/main" id="{43086CAD-D746-5109-B5C9-C302A53C66B2}"/>
                </a:ext>
              </a:extLst>
            </p:cNvPr>
            <p:cNvSpPr/>
            <p:nvPr/>
          </p:nvSpPr>
          <p:spPr>
            <a:xfrm>
              <a:off x="4069215" y="1458522"/>
              <a:ext cx="378301" cy="376217"/>
            </a:xfrm>
            <a:custGeom>
              <a:avLst/>
              <a:gdLst>
                <a:gd name="connsiteX0" fmla="*/ 0 w 378301"/>
                <a:gd name="connsiteY0" fmla="*/ 188109 h 376217"/>
                <a:gd name="connsiteX1" fmla="*/ 189151 w 378301"/>
                <a:gd name="connsiteY1" fmla="*/ 376217 h 376217"/>
                <a:gd name="connsiteX2" fmla="*/ 378302 w 378301"/>
                <a:gd name="connsiteY2" fmla="*/ 188109 h 376217"/>
                <a:gd name="connsiteX3" fmla="*/ 189151 w 378301"/>
                <a:gd name="connsiteY3" fmla="*/ 0 h 376217"/>
                <a:gd name="connsiteX4" fmla="*/ 0 w 378301"/>
                <a:gd name="connsiteY4" fmla="*/ 188109 h 376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8301" h="376217">
                  <a:moveTo>
                    <a:pt x="0" y="188109"/>
                  </a:moveTo>
                  <a:cubicBezTo>
                    <a:pt x="0" y="292180"/>
                    <a:pt x="84819" y="376217"/>
                    <a:pt x="189151" y="376217"/>
                  </a:cubicBezTo>
                  <a:cubicBezTo>
                    <a:pt x="293483" y="376217"/>
                    <a:pt x="378302" y="291920"/>
                    <a:pt x="378302" y="188109"/>
                  </a:cubicBezTo>
                  <a:cubicBezTo>
                    <a:pt x="378302" y="84298"/>
                    <a:pt x="293483" y="0"/>
                    <a:pt x="189151" y="0"/>
                  </a:cubicBezTo>
                  <a:cubicBezTo>
                    <a:pt x="84819" y="0"/>
                    <a:pt x="0" y="84298"/>
                    <a:pt x="0" y="188109"/>
                  </a:cubicBezTo>
                </a:path>
              </a:pathLst>
            </a:custGeom>
            <a:solidFill>
              <a:srgbClr val="61452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5" name="Freihandform: Form 104">
              <a:extLst>
                <a:ext uri="{FF2B5EF4-FFF2-40B4-BE49-F238E27FC236}">
                  <a16:creationId xmlns:a16="http://schemas.microsoft.com/office/drawing/2014/main" id="{822C92F9-8E63-2C8B-F160-56F84E295999}"/>
                </a:ext>
              </a:extLst>
            </p:cNvPr>
            <p:cNvSpPr/>
            <p:nvPr/>
          </p:nvSpPr>
          <p:spPr>
            <a:xfrm>
              <a:off x="3529862" y="874682"/>
              <a:ext cx="497320" cy="366850"/>
            </a:xfrm>
            <a:custGeom>
              <a:avLst/>
              <a:gdLst>
                <a:gd name="connsiteX0" fmla="*/ 2342 w 497320"/>
                <a:gd name="connsiteY0" fmla="*/ 366851 h 366850"/>
                <a:gd name="connsiteX1" fmla="*/ 466503 w 497320"/>
                <a:gd name="connsiteY1" fmla="*/ 366851 h 366850"/>
                <a:gd name="connsiteX2" fmla="*/ 497204 w 497320"/>
                <a:gd name="connsiteY2" fmla="*/ 34083 h 366850"/>
                <a:gd name="connsiteX3" fmla="*/ 465983 w 497320"/>
                <a:gd name="connsiteY3" fmla="*/ 0 h 366850"/>
                <a:gd name="connsiteX4" fmla="*/ 222454 w 497320"/>
                <a:gd name="connsiteY4" fmla="*/ 0 h 366850"/>
                <a:gd name="connsiteX5" fmla="*/ 0 w 497320"/>
                <a:gd name="connsiteY5" fmla="*/ 221151 h 366850"/>
                <a:gd name="connsiteX6" fmla="*/ 2342 w 497320"/>
                <a:gd name="connsiteY6" fmla="*/ 366851 h 366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97320" h="366850">
                  <a:moveTo>
                    <a:pt x="2342" y="366851"/>
                  </a:moveTo>
                  <a:lnTo>
                    <a:pt x="466503" y="366851"/>
                  </a:lnTo>
                  <a:lnTo>
                    <a:pt x="497204" y="34083"/>
                  </a:lnTo>
                  <a:cubicBezTo>
                    <a:pt x="498765" y="15871"/>
                    <a:pt x="484455" y="0"/>
                    <a:pt x="465983" y="0"/>
                  </a:cubicBezTo>
                  <a:lnTo>
                    <a:pt x="222454" y="0"/>
                  </a:lnTo>
                  <a:cubicBezTo>
                    <a:pt x="99649" y="0"/>
                    <a:pt x="0" y="99128"/>
                    <a:pt x="0" y="221151"/>
                  </a:cubicBezTo>
                  <a:lnTo>
                    <a:pt x="2342" y="366851"/>
                  </a:lnTo>
                  <a:close/>
                </a:path>
              </a:pathLst>
            </a:custGeom>
            <a:solidFill>
              <a:srgbClr val="61452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6" name="Freihandform: Form 105">
              <a:extLst>
                <a:ext uri="{FF2B5EF4-FFF2-40B4-BE49-F238E27FC236}">
                  <a16:creationId xmlns:a16="http://schemas.microsoft.com/office/drawing/2014/main" id="{3F93F459-A9B1-0D4A-694B-298CE371AAE6}"/>
                </a:ext>
              </a:extLst>
            </p:cNvPr>
            <p:cNvSpPr/>
            <p:nvPr/>
          </p:nvSpPr>
          <p:spPr>
            <a:xfrm>
              <a:off x="3844940" y="1088289"/>
              <a:ext cx="530402" cy="707684"/>
            </a:xfrm>
            <a:custGeom>
              <a:avLst/>
              <a:gdLst>
                <a:gd name="connsiteX0" fmla="*/ 202940 w 530402"/>
                <a:gd name="connsiteY0" fmla="*/ 707684 h 707684"/>
                <a:gd name="connsiteX1" fmla="*/ 0 w 530402"/>
                <a:gd name="connsiteY1" fmla="*/ 149082 h 707684"/>
                <a:gd name="connsiteX2" fmla="*/ 465202 w 530402"/>
                <a:gd name="connsiteY2" fmla="*/ 0 h 707684"/>
                <a:gd name="connsiteX3" fmla="*/ 502148 w 530402"/>
                <a:gd name="connsiteY3" fmla="*/ 101469 h 707684"/>
                <a:gd name="connsiteX4" fmla="*/ 202940 w 530402"/>
                <a:gd name="connsiteY4" fmla="*/ 707684 h 7076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0402" h="707684">
                  <a:moveTo>
                    <a:pt x="202940" y="707684"/>
                  </a:moveTo>
                  <a:lnTo>
                    <a:pt x="0" y="149082"/>
                  </a:lnTo>
                  <a:lnTo>
                    <a:pt x="465202" y="0"/>
                  </a:lnTo>
                  <a:lnTo>
                    <a:pt x="502148" y="101469"/>
                  </a:lnTo>
                  <a:cubicBezTo>
                    <a:pt x="592950" y="351240"/>
                    <a:pt x="457397" y="626248"/>
                    <a:pt x="202940" y="707684"/>
                  </a:cubicBezTo>
                </a:path>
              </a:pathLst>
            </a:custGeom>
            <a:solidFill>
              <a:srgbClr val="61452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7" name="Freihandform: Form 106">
              <a:extLst>
                <a:ext uri="{FF2B5EF4-FFF2-40B4-BE49-F238E27FC236}">
                  <a16:creationId xmlns:a16="http://schemas.microsoft.com/office/drawing/2014/main" id="{C6A37DFC-A013-B1E1-26C4-A90C70C05E99}"/>
                </a:ext>
              </a:extLst>
            </p:cNvPr>
            <p:cNvSpPr/>
            <p:nvPr/>
          </p:nvSpPr>
          <p:spPr>
            <a:xfrm>
              <a:off x="3790822" y="2142790"/>
              <a:ext cx="360349" cy="286488"/>
            </a:xfrm>
            <a:custGeom>
              <a:avLst/>
              <a:gdLst>
                <a:gd name="connsiteX0" fmla="*/ 360349 w 360349"/>
                <a:gd name="connsiteY0" fmla="*/ 3903 h 286488"/>
                <a:gd name="connsiteX1" fmla="*/ 0 w 360349"/>
                <a:gd name="connsiteY1" fmla="*/ 0 h 286488"/>
                <a:gd name="connsiteX2" fmla="*/ 27579 w 360349"/>
                <a:gd name="connsiteY2" fmla="*/ 188109 h 286488"/>
                <a:gd name="connsiteX3" fmla="*/ 244309 w 360349"/>
                <a:gd name="connsiteY3" fmla="*/ 224794 h 286488"/>
                <a:gd name="connsiteX4" fmla="*/ 360349 w 360349"/>
                <a:gd name="connsiteY4" fmla="*/ 3903 h 286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0349" h="286488">
                  <a:moveTo>
                    <a:pt x="360349" y="3903"/>
                  </a:moveTo>
                  <a:lnTo>
                    <a:pt x="0" y="0"/>
                  </a:lnTo>
                  <a:lnTo>
                    <a:pt x="27579" y="188109"/>
                  </a:lnTo>
                  <a:cubicBezTo>
                    <a:pt x="43710" y="298424"/>
                    <a:pt x="192533" y="323401"/>
                    <a:pt x="244309" y="224794"/>
                  </a:cubicBezTo>
                  <a:lnTo>
                    <a:pt x="360349" y="3903"/>
                  </a:lnTo>
                  <a:close/>
                </a:path>
              </a:pathLst>
            </a:custGeom>
            <a:solidFill>
              <a:srgbClr val="E9CFA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8" name="Freihandform: Form 107">
              <a:extLst>
                <a:ext uri="{FF2B5EF4-FFF2-40B4-BE49-F238E27FC236}">
                  <a16:creationId xmlns:a16="http://schemas.microsoft.com/office/drawing/2014/main" id="{E2D9ABCB-681E-47A8-C980-3366761334BC}"/>
                </a:ext>
              </a:extLst>
            </p:cNvPr>
            <p:cNvSpPr/>
            <p:nvPr/>
          </p:nvSpPr>
          <p:spPr>
            <a:xfrm>
              <a:off x="3717712" y="1538136"/>
              <a:ext cx="446381" cy="732703"/>
            </a:xfrm>
            <a:custGeom>
              <a:avLst/>
              <a:gdLst>
                <a:gd name="connsiteX0" fmla="*/ 444908 w 446381"/>
                <a:gd name="connsiteY0" fmla="*/ 520616 h 732703"/>
                <a:gd name="connsiteX1" fmla="*/ 385847 w 446381"/>
                <a:gd name="connsiteY1" fmla="*/ 0 h 732703"/>
                <a:gd name="connsiteX2" fmla="*/ 0 w 446381"/>
                <a:gd name="connsiteY2" fmla="*/ 36945 h 732703"/>
                <a:gd name="connsiteX3" fmla="*/ 64525 w 446381"/>
                <a:gd name="connsiteY3" fmla="*/ 565107 h 732703"/>
                <a:gd name="connsiteX4" fmla="*/ 284637 w 446381"/>
                <a:gd name="connsiteY4" fmla="*/ 730320 h 732703"/>
                <a:gd name="connsiteX5" fmla="*/ 445168 w 446381"/>
                <a:gd name="connsiteY5" fmla="*/ 520616 h 732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6381" h="732703">
                  <a:moveTo>
                    <a:pt x="444908" y="520616"/>
                  </a:moveTo>
                  <a:lnTo>
                    <a:pt x="385847" y="0"/>
                  </a:lnTo>
                  <a:lnTo>
                    <a:pt x="0" y="36945"/>
                  </a:lnTo>
                  <a:lnTo>
                    <a:pt x="64525" y="565107"/>
                  </a:lnTo>
                  <a:cubicBezTo>
                    <a:pt x="77534" y="672300"/>
                    <a:pt x="177443" y="747231"/>
                    <a:pt x="284637" y="730320"/>
                  </a:cubicBezTo>
                  <a:cubicBezTo>
                    <a:pt x="385847" y="714449"/>
                    <a:pt x="456616" y="622086"/>
                    <a:pt x="445168" y="520616"/>
                  </a:cubicBezTo>
                </a:path>
              </a:pathLst>
            </a:custGeom>
            <a:solidFill>
              <a:srgbClr val="E9CFA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9" name="Freihandform: Form 108">
              <a:extLst>
                <a:ext uri="{FF2B5EF4-FFF2-40B4-BE49-F238E27FC236}">
                  <a16:creationId xmlns:a16="http://schemas.microsoft.com/office/drawing/2014/main" id="{56AF9790-B8E3-16EC-D059-41FA8F5C6E44}"/>
                </a:ext>
              </a:extLst>
            </p:cNvPr>
            <p:cNvSpPr/>
            <p:nvPr/>
          </p:nvSpPr>
          <p:spPr>
            <a:xfrm>
              <a:off x="3532203" y="998267"/>
              <a:ext cx="573436" cy="853904"/>
            </a:xfrm>
            <a:custGeom>
              <a:avLst/>
              <a:gdLst>
                <a:gd name="connsiteX0" fmla="*/ 209705 w 573436"/>
                <a:gd name="connsiteY0" fmla="*/ 853904 h 853904"/>
                <a:gd name="connsiteX1" fmla="*/ 329648 w 573436"/>
                <a:gd name="connsiteY1" fmla="*/ 853904 h 853904"/>
                <a:gd name="connsiteX2" fmla="*/ 573437 w 573436"/>
                <a:gd name="connsiteY2" fmla="*/ 610117 h 853904"/>
                <a:gd name="connsiteX3" fmla="*/ 573437 w 573436"/>
                <a:gd name="connsiteY3" fmla="*/ 243787 h 853904"/>
                <a:gd name="connsiteX4" fmla="*/ 329648 w 573436"/>
                <a:gd name="connsiteY4" fmla="*/ 0 h 853904"/>
                <a:gd name="connsiteX5" fmla="*/ 102771 w 573436"/>
                <a:gd name="connsiteY5" fmla="*/ 0 h 853904"/>
                <a:gd name="connsiteX6" fmla="*/ 0 w 573436"/>
                <a:gd name="connsiteY6" fmla="*/ 102770 h 853904"/>
                <a:gd name="connsiteX7" fmla="*/ 0 w 573436"/>
                <a:gd name="connsiteY7" fmla="*/ 644201 h 853904"/>
                <a:gd name="connsiteX8" fmla="*/ 209705 w 573436"/>
                <a:gd name="connsiteY8" fmla="*/ 853904 h 853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73436" h="853904">
                  <a:moveTo>
                    <a:pt x="209705" y="853904"/>
                  </a:moveTo>
                  <a:lnTo>
                    <a:pt x="329648" y="853904"/>
                  </a:lnTo>
                  <a:cubicBezTo>
                    <a:pt x="464421" y="853904"/>
                    <a:pt x="573437" y="744629"/>
                    <a:pt x="573437" y="610117"/>
                  </a:cubicBezTo>
                  <a:lnTo>
                    <a:pt x="573437" y="243787"/>
                  </a:lnTo>
                  <a:cubicBezTo>
                    <a:pt x="573437" y="109015"/>
                    <a:pt x="464161" y="0"/>
                    <a:pt x="329648" y="0"/>
                  </a:cubicBezTo>
                  <a:lnTo>
                    <a:pt x="102771" y="0"/>
                  </a:lnTo>
                  <a:cubicBezTo>
                    <a:pt x="46052" y="0"/>
                    <a:pt x="0" y="46051"/>
                    <a:pt x="0" y="102770"/>
                  </a:cubicBezTo>
                  <a:lnTo>
                    <a:pt x="0" y="644201"/>
                  </a:lnTo>
                  <a:cubicBezTo>
                    <a:pt x="0" y="759980"/>
                    <a:pt x="93925" y="853904"/>
                    <a:pt x="209705" y="853904"/>
                  </a:cubicBezTo>
                </a:path>
              </a:pathLst>
            </a:custGeom>
            <a:solidFill>
              <a:srgbClr val="E9CFA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0" name="Freihandform: Form 109">
              <a:extLst>
                <a:ext uri="{FF2B5EF4-FFF2-40B4-BE49-F238E27FC236}">
                  <a16:creationId xmlns:a16="http://schemas.microsoft.com/office/drawing/2014/main" id="{6891BA1B-72EB-A9CE-BCE6-7068DBFEA5A9}"/>
                </a:ext>
              </a:extLst>
            </p:cNvPr>
            <p:cNvSpPr/>
            <p:nvPr/>
          </p:nvSpPr>
          <p:spPr>
            <a:xfrm>
              <a:off x="4023683" y="1351012"/>
              <a:ext cx="177754" cy="200393"/>
            </a:xfrm>
            <a:custGeom>
              <a:avLst/>
              <a:gdLst>
                <a:gd name="connsiteX0" fmla="*/ 79095 w 177754"/>
                <a:gd name="connsiteY0" fmla="*/ 200393 h 200393"/>
                <a:gd name="connsiteX1" fmla="*/ 122285 w 177754"/>
                <a:gd name="connsiteY1" fmla="*/ 180619 h 200393"/>
                <a:gd name="connsiteX2" fmla="*/ 169117 w 177754"/>
                <a:gd name="connsiteY2" fmla="*/ 55214 h 200393"/>
                <a:gd name="connsiteX3" fmla="*/ 43190 w 177754"/>
                <a:gd name="connsiteY3" fmla="*/ 8642 h 200393"/>
                <a:gd name="connsiteX4" fmla="*/ 0 w 177754"/>
                <a:gd name="connsiteY4" fmla="*/ 28415 h 200393"/>
                <a:gd name="connsiteX5" fmla="*/ 79095 w 177754"/>
                <a:gd name="connsiteY5" fmla="*/ 200393 h 2003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7754" h="200393">
                  <a:moveTo>
                    <a:pt x="79095" y="200393"/>
                  </a:moveTo>
                  <a:lnTo>
                    <a:pt x="122285" y="180619"/>
                  </a:lnTo>
                  <a:cubicBezTo>
                    <a:pt x="169898" y="158765"/>
                    <a:pt x="190972" y="102826"/>
                    <a:pt x="169117" y="55214"/>
                  </a:cubicBezTo>
                  <a:cubicBezTo>
                    <a:pt x="147262" y="7861"/>
                    <a:pt x="90803" y="-13213"/>
                    <a:pt x="43190" y="8642"/>
                  </a:cubicBezTo>
                  <a:lnTo>
                    <a:pt x="0" y="28415"/>
                  </a:lnTo>
                  <a:lnTo>
                    <a:pt x="79095" y="200393"/>
                  </a:lnTo>
                  <a:close/>
                </a:path>
              </a:pathLst>
            </a:custGeom>
            <a:solidFill>
              <a:srgbClr val="E9CFA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1" name="Freihandform: Form 110">
              <a:extLst>
                <a:ext uri="{FF2B5EF4-FFF2-40B4-BE49-F238E27FC236}">
                  <a16:creationId xmlns:a16="http://schemas.microsoft.com/office/drawing/2014/main" id="{1BD79366-C60F-E69E-482D-90627A946DBE}"/>
                </a:ext>
              </a:extLst>
            </p:cNvPr>
            <p:cNvSpPr/>
            <p:nvPr/>
          </p:nvSpPr>
          <p:spPr>
            <a:xfrm>
              <a:off x="4023423" y="1508996"/>
              <a:ext cx="101470" cy="238583"/>
            </a:xfrm>
            <a:custGeom>
              <a:avLst/>
              <a:gdLst>
                <a:gd name="connsiteX0" fmla="*/ 101470 w 101470"/>
                <a:gd name="connsiteY0" fmla="*/ 0 h 238583"/>
                <a:gd name="connsiteX1" fmla="*/ 101470 w 101470"/>
                <a:gd name="connsiteY1" fmla="*/ 238583 h 238583"/>
                <a:gd name="connsiteX2" fmla="*/ 0 w 101470"/>
                <a:gd name="connsiteY2" fmla="*/ 24197 h 238583"/>
                <a:gd name="connsiteX3" fmla="*/ 101470 w 101470"/>
                <a:gd name="connsiteY3" fmla="*/ 0 h 2385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1470" h="238583">
                  <a:moveTo>
                    <a:pt x="101470" y="0"/>
                  </a:moveTo>
                  <a:lnTo>
                    <a:pt x="101470" y="238583"/>
                  </a:lnTo>
                  <a:lnTo>
                    <a:pt x="0" y="24197"/>
                  </a:lnTo>
                  <a:lnTo>
                    <a:pt x="101470" y="0"/>
                  </a:lnTo>
                  <a:close/>
                </a:path>
              </a:pathLst>
            </a:custGeom>
            <a:solidFill>
              <a:srgbClr val="E9CFA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2" name="Freihandform: Form 111">
              <a:extLst>
                <a:ext uri="{FF2B5EF4-FFF2-40B4-BE49-F238E27FC236}">
                  <a16:creationId xmlns:a16="http://schemas.microsoft.com/office/drawing/2014/main" id="{FC805D3C-3114-BBB0-69F5-0738E03F589B}"/>
                </a:ext>
              </a:extLst>
            </p:cNvPr>
            <p:cNvSpPr/>
            <p:nvPr/>
          </p:nvSpPr>
          <p:spPr>
            <a:xfrm>
              <a:off x="3751275" y="1852171"/>
              <a:ext cx="118642" cy="117340"/>
            </a:xfrm>
            <a:custGeom>
              <a:avLst/>
              <a:gdLst>
                <a:gd name="connsiteX0" fmla="*/ 0 w 118642"/>
                <a:gd name="connsiteY0" fmla="*/ 0 h 117340"/>
                <a:gd name="connsiteX1" fmla="*/ 118642 w 118642"/>
                <a:gd name="connsiteY1" fmla="*/ 0 h 117340"/>
                <a:gd name="connsiteX2" fmla="*/ 14310 w 118642"/>
                <a:gd name="connsiteY2" fmla="*/ 117340 h 117340"/>
                <a:gd name="connsiteX3" fmla="*/ 0 w 118642"/>
                <a:gd name="connsiteY3" fmla="*/ 0 h 1173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8642" h="117340">
                  <a:moveTo>
                    <a:pt x="0" y="0"/>
                  </a:moveTo>
                  <a:lnTo>
                    <a:pt x="118642" y="0"/>
                  </a:lnTo>
                  <a:lnTo>
                    <a:pt x="14310" y="1173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CA77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3" name="Freihandform: Form 112">
              <a:extLst>
                <a:ext uri="{FF2B5EF4-FFF2-40B4-BE49-F238E27FC236}">
                  <a16:creationId xmlns:a16="http://schemas.microsoft.com/office/drawing/2014/main" id="{1AB9B0F5-337C-A8D1-8F26-06F960E5E02C}"/>
                </a:ext>
              </a:extLst>
            </p:cNvPr>
            <p:cNvSpPr/>
            <p:nvPr/>
          </p:nvSpPr>
          <p:spPr>
            <a:xfrm>
              <a:off x="3958378" y="1355445"/>
              <a:ext cx="289723" cy="254760"/>
            </a:xfrm>
            <a:custGeom>
              <a:avLst/>
              <a:gdLst>
                <a:gd name="connsiteX0" fmla="*/ 80656 w 289723"/>
                <a:gd name="connsiteY0" fmla="*/ 254240 h 254760"/>
                <a:gd name="connsiteX1" fmla="*/ 233121 w 289723"/>
                <a:gd name="connsiteY1" fmla="*/ 183992 h 254760"/>
                <a:gd name="connsiteX2" fmla="*/ 280995 w 289723"/>
                <a:gd name="connsiteY2" fmla="*/ 56245 h 254760"/>
                <a:gd name="connsiteX3" fmla="*/ 152466 w 289723"/>
                <a:gd name="connsiteY3" fmla="*/ 8892 h 254760"/>
                <a:gd name="connsiteX4" fmla="*/ 0 w 289723"/>
                <a:gd name="connsiteY4" fmla="*/ 79401 h 254760"/>
                <a:gd name="connsiteX5" fmla="*/ 80656 w 289723"/>
                <a:gd name="connsiteY5" fmla="*/ 254761 h 254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9723" h="254760">
                  <a:moveTo>
                    <a:pt x="80656" y="254240"/>
                  </a:moveTo>
                  <a:lnTo>
                    <a:pt x="233121" y="183992"/>
                  </a:lnTo>
                  <a:cubicBezTo>
                    <a:pt x="281775" y="161877"/>
                    <a:pt x="303110" y="104638"/>
                    <a:pt x="280995" y="56245"/>
                  </a:cubicBezTo>
                  <a:cubicBezTo>
                    <a:pt x="258619" y="7852"/>
                    <a:pt x="201119" y="-13483"/>
                    <a:pt x="152466" y="8892"/>
                  </a:cubicBezTo>
                  <a:lnTo>
                    <a:pt x="0" y="79401"/>
                  </a:lnTo>
                  <a:lnTo>
                    <a:pt x="80656" y="254761"/>
                  </a:lnTo>
                  <a:close/>
                </a:path>
              </a:pathLst>
            </a:custGeom>
            <a:solidFill>
              <a:srgbClr val="E9CFA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4" name="Freihandform: Form 113">
              <a:extLst>
                <a:ext uri="{FF2B5EF4-FFF2-40B4-BE49-F238E27FC236}">
                  <a16:creationId xmlns:a16="http://schemas.microsoft.com/office/drawing/2014/main" id="{F22A600C-B6A2-B2EF-2565-0D7A09847B39}"/>
                </a:ext>
              </a:extLst>
            </p:cNvPr>
            <p:cNvSpPr/>
            <p:nvPr/>
          </p:nvSpPr>
          <p:spPr>
            <a:xfrm>
              <a:off x="3529862" y="874682"/>
              <a:ext cx="813754" cy="544186"/>
            </a:xfrm>
            <a:custGeom>
              <a:avLst/>
              <a:gdLst>
                <a:gd name="connsiteX0" fmla="*/ 0 w 813754"/>
                <a:gd name="connsiteY0" fmla="*/ 228436 h 544186"/>
                <a:gd name="connsiteX1" fmla="*/ 181606 w 813754"/>
                <a:gd name="connsiteY1" fmla="*/ 47873 h 544186"/>
                <a:gd name="connsiteX2" fmla="*/ 302850 w 813754"/>
                <a:gd name="connsiteY2" fmla="*/ 47873 h 544186"/>
                <a:gd name="connsiteX3" fmla="*/ 473007 w 813754"/>
                <a:gd name="connsiteY3" fmla="*/ 0 h 544186"/>
                <a:gd name="connsiteX4" fmla="*/ 779760 w 813754"/>
                <a:gd name="connsiteY4" fmla="*/ 213606 h 544186"/>
                <a:gd name="connsiteX5" fmla="*/ 780280 w 813754"/>
                <a:gd name="connsiteY5" fmla="*/ 213606 h 544186"/>
                <a:gd name="connsiteX6" fmla="*/ 811762 w 813754"/>
                <a:gd name="connsiteY6" fmla="*/ 355143 h 544186"/>
                <a:gd name="connsiteX7" fmla="*/ 740733 w 813754"/>
                <a:gd name="connsiteY7" fmla="*/ 544032 h 544186"/>
                <a:gd name="connsiteX8" fmla="*/ 680631 w 813754"/>
                <a:gd name="connsiteY8" fmla="*/ 486533 h 544186"/>
                <a:gd name="connsiteX9" fmla="*/ 580722 w 813754"/>
                <a:gd name="connsiteY9" fmla="*/ 532584 h 544186"/>
                <a:gd name="connsiteX10" fmla="*/ 410824 w 813754"/>
                <a:gd name="connsiteY10" fmla="*/ 462076 h 544186"/>
                <a:gd name="connsiteX11" fmla="*/ 371017 w 813754"/>
                <a:gd name="connsiteY11" fmla="*/ 275008 h 544186"/>
                <a:gd name="connsiteX12" fmla="*/ 280995 w 813754"/>
                <a:gd name="connsiteY12" fmla="*/ 174840 h 544186"/>
                <a:gd name="connsiteX13" fmla="*/ 215949 w 813754"/>
                <a:gd name="connsiteY13" fmla="*/ 163652 h 544186"/>
                <a:gd name="connsiteX14" fmla="*/ 45532 w 813754"/>
                <a:gd name="connsiteY14" fmla="*/ 235981 h 544186"/>
                <a:gd name="connsiteX15" fmla="*/ 2081 w 813754"/>
                <a:gd name="connsiteY15" fmla="*/ 339532 h 544186"/>
                <a:gd name="connsiteX16" fmla="*/ 520 w 813754"/>
                <a:gd name="connsiteY16" fmla="*/ 270585 h 544186"/>
                <a:gd name="connsiteX17" fmla="*/ 0 w 813754"/>
                <a:gd name="connsiteY17" fmla="*/ 244828 h 544186"/>
                <a:gd name="connsiteX18" fmla="*/ 0 w 813754"/>
                <a:gd name="connsiteY18" fmla="*/ 228176 h 544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813754" h="544186">
                  <a:moveTo>
                    <a:pt x="0" y="228436"/>
                  </a:moveTo>
                  <a:cubicBezTo>
                    <a:pt x="0" y="128788"/>
                    <a:pt x="81176" y="47873"/>
                    <a:pt x="181606" y="47873"/>
                  </a:cubicBezTo>
                  <a:lnTo>
                    <a:pt x="302850" y="47873"/>
                  </a:lnTo>
                  <a:cubicBezTo>
                    <a:pt x="352544" y="17692"/>
                    <a:pt x="410564" y="0"/>
                    <a:pt x="473007" y="0"/>
                  </a:cubicBezTo>
                  <a:cubicBezTo>
                    <a:pt x="614025" y="0"/>
                    <a:pt x="733968" y="89241"/>
                    <a:pt x="779760" y="213606"/>
                  </a:cubicBezTo>
                  <a:lnTo>
                    <a:pt x="780280" y="213606"/>
                  </a:lnTo>
                  <a:cubicBezTo>
                    <a:pt x="780280" y="213606"/>
                    <a:pt x="811762" y="355143"/>
                    <a:pt x="811762" y="355143"/>
                  </a:cubicBezTo>
                  <a:cubicBezTo>
                    <a:pt x="827633" y="398853"/>
                    <a:pt x="743595" y="500322"/>
                    <a:pt x="740733" y="544032"/>
                  </a:cubicBezTo>
                  <a:lnTo>
                    <a:pt x="680631" y="486533"/>
                  </a:lnTo>
                  <a:lnTo>
                    <a:pt x="580722" y="532584"/>
                  </a:lnTo>
                  <a:cubicBezTo>
                    <a:pt x="514376" y="563285"/>
                    <a:pt x="435802" y="530763"/>
                    <a:pt x="410824" y="462076"/>
                  </a:cubicBezTo>
                  <a:lnTo>
                    <a:pt x="371017" y="275008"/>
                  </a:lnTo>
                  <a:cubicBezTo>
                    <a:pt x="360870" y="227135"/>
                    <a:pt x="329388" y="182125"/>
                    <a:pt x="280995" y="174840"/>
                  </a:cubicBezTo>
                  <a:lnTo>
                    <a:pt x="215949" y="163652"/>
                  </a:lnTo>
                  <a:cubicBezTo>
                    <a:pt x="148303" y="153765"/>
                    <a:pt x="82217" y="178742"/>
                    <a:pt x="45532" y="235981"/>
                  </a:cubicBezTo>
                  <a:lnTo>
                    <a:pt x="2081" y="339532"/>
                  </a:lnTo>
                  <a:lnTo>
                    <a:pt x="520" y="270585"/>
                  </a:lnTo>
                  <a:cubicBezTo>
                    <a:pt x="520" y="260698"/>
                    <a:pt x="0" y="244828"/>
                    <a:pt x="0" y="244828"/>
                  </a:cubicBezTo>
                  <a:lnTo>
                    <a:pt x="0" y="228176"/>
                  </a:lnTo>
                  <a:close/>
                </a:path>
              </a:pathLst>
            </a:custGeom>
            <a:solidFill>
              <a:srgbClr val="614525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5" name="Freihandform: Form 114">
              <a:extLst>
                <a:ext uri="{FF2B5EF4-FFF2-40B4-BE49-F238E27FC236}">
                  <a16:creationId xmlns:a16="http://schemas.microsoft.com/office/drawing/2014/main" id="{A36771C3-BC5E-910E-4956-744F9DA033B1}"/>
                </a:ext>
              </a:extLst>
            </p:cNvPr>
            <p:cNvSpPr/>
            <p:nvPr/>
          </p:nvSpPr>
          <p:spPr>
            <a:xfrm>
              <a:off x="4084510" y="2011400"/>
              <a:ext cx="202475" cy="1139319"/>
            </a:xfrm>
            <a:custGeom>
              <a:avLst/>
              <a:gdLst>
                <a:gd name="connsiteX0" fmla="*/ 74467 w 202475"/>
                <a:gd name="connsiteY0" fmla="*/ 0 h 1139319"/>
                <a:gd name="connsiteX1" fmla="*/ 9422 w 202475"/>
                <a:gd name="connsiteY1" fmla="*/ 426432 h 1139319"/>
                <a:gd name="connsiteX2" fmla="*/ 7600 w 202475"/>
                <a:gd name="connsiteY2" fmla="*/ 661372 h 1139319"/>
                <a:gd name="connsiteX3" fmla="*/ 59636 w 202475"/>
                <a:gd name="connsiteY3" fmla="*/ 1139319 h 1139319"/>
                <a:gd name="connsiteX4" fmla="*/ 80711 w 202475"/>
                <a:gd name="connsiteY4" fmla="*/ 660071 h 1139319"/>
                <a:gd name="connsiteX5" fmla="*/ 127283 w 202475"/>
                <a:gd name="connsiteY5" fmla="*/ 321320 h 1139319"/>
                <a:gd name="connsiteX6" fmla="*/ 202475 w 202475"/>
                <a:gd name="connsiteY6" fmla="*/ 260 h 1139319"/>
                <a:gd name="connsiteX7" fmla="*/ 74467 w 202475"/>
                <a:gd name="connsiteY7" fmla="*/ 260 h 1139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02475" h="1139319">
                  <a:moveTo>
                    <a:pt x="74467" y="0"/>
                  </a:moveTo>
                  <a:lnTo>
                    <a:pt x="9422" y="426432"/>
                  </a:lnTo>
                  <a:cubicBezTo>
                    <a:pt x="-2547" y="504225"/>
                    <a:pt x="-3067" y="583319"/>
                    <a:pt x="7600" y="661372"/>
                  </a:cubicBezTo>
                  <a:lnTo>
                    <a:pt x="59636" y="1139319"/>
                  </a:lnTo>
                  <a:lnTo>
                    <a:pt x="80711" y="660071"/>
                  </a:lnTo>
                  <a:cubicBezTo>
                    <a:pt x="85654" y="545853"/>
                    <a:pt x="101265" y="432416"/>
                    <a:pt x="127283" y="321320"/>
                  </a:cubicBezTo>
                  <a:lnTo>
                    <a:pt x="202475" y="260"/>
                  </a:lnTo>
                  <a:lnTo>
                    <a:pt x="74467" y="260"/>
                  </a:lnTo>
                  <a:close/>
                </a:path>
              </a:pathLst>
            </a:custGeom>
            <a:solidFill>
              <a:srgbClr val="FE8F11"/>
            </a:solidFill>
            <a:ln w="0" cap="flat">
              <a:solidFill>
                <a:schemeClr val="bg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16" name="Freihandform: Form 115">
              <a:extLst>
                <a:ext uri="{FF2B5EF4-FFF2-40B4-BE49-F238E27FC236}">
                  <a16:creationId xmlns:a16="http://schemas.microsoft.com/office/drawing/2014/main" id="{4F4DBD89-3B24-0CDE-8F86-61E5569C34F1}"/>
                </a:ext>
              </a:extLst>
            </p:cNvPr>
            <p:cNvSpPr/>
            <p:nvPr/>
          </p:nvSpPr>
          <p:spPr>
            <a:xfrm>
              <a:off x="3503056" y="2010359"/>
              <a:ext cx="267732" cy="1139839"/>
            </a:xfrm>
            <a:custGeom>
              <a:avLst/>
              <a:gdLst>
                <a:gd name="connsiteX0" fmla="*/ 267472 w 267732"/>
                <a:gd name="connsiteY0" fmla="*/ 520 h 1139839"/>
                <a:gd name="connsiteX1" fmla="*/ 99916 w 267732"/>
                <a:gd name="connsiteY1" fmla="*/ 482110 h 1139839"/>
                <a:gd name="connsiteX2" fmla="*/ 85606 w 267732"/>
                <a:gd name="connsiteY2" fmla="*/ 627549 h 1139839"/>
                <a:gd name="connsiteX3" fmla="*/ 145448 w 267732"/>
                <a:gd name="connsiteY3" fmla="*/ 1139840 h 1139839"/>
                <a:gd name="connsiteX4" fmla="*/ 5211 w 267732"/>
                <a:gd name="connsiteY4" fmla="*/ 598149 h 1139839"/>
                <a:gd name="connsiteX5" fmla="*/ 7813 w 267732"/>
                <a:gd name="connsiteY5" fmla="*/ 506827 h 1139839"/>
                <a:gd name="connsiteX6" fmla="*/ 164181 w 267732"/>
                <a:gd name="connsiteY6" fmla="*/ 0 h 1139839"/>
                <a:gd name="connsiteX7" fmla="*/ 267732 w 267732"/>
                <a:gd name="connsiteY7" fmla="*/ 0 h 11398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7732" h="1139839">
                  <a:moveTo>
                    <a:pt x="267472" y="520"/>
                  </a:moveTo>
                  <a:lnTo>
                    <a:pt x="99916" y="482110"/>
                  </a:lnTo>
                  <a:cubicBezTo>
                    <a:pt x="84306" y="528942"/>
                    <a:pt x="79362" y="578636"/>
                    <a:pt x="85606" y="627549"/>
                  </a:cubicBezTo>
                  <a:lnTo>
                    <a:pt x="145448" y="1139840"/>
                  </a:lnTo>
                  <a:lnTo>
                    <a:pt x="5211" y="598149"/>
                  </a:lnTo>
                  <a:cubicBezTo>
                    <a:pt x="-2595" y="568229"/>
                    <a:pt x="-1554" y="536487"/>
                    <a:pt x="7813" y="506827"/>
                  </a:cubicBezTo>
                  <a:lnTo>
                    <a:pt x="164181" y="0"/>
                  </a:lnTo>
                  <a:lnTo>
                    <a:pt x="267732" y="0"/>
                  </a:lnTo>
                  <a:close/>
                </a:path>
              </a:pathLst>
            </a:custGeom>
            <a:solidFill>
              <a:schemeClr val="bg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pic>
        <p:nvPicPr>
          <p:cNvPr id="7" name="Grafik 6" descr="Ein Bild, das Menschliches Gesicht, Person, Lächeln, Vorderkopf enthält.&#10;&#10;Automatisch generierte Beschreibung">
            <a:extLst>
              <a:ext uri="{FF2B5EF4-FFF2-40B4-BE49-F238E27FC236}">
                <a16:creationId xmlns:a16="http://schemas.microsoft.com/office/drawing/2014/main" id="{3D6F4D3E-FDE6-65EC-C18F-E9A78A9C2B4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8825" y="1917915"/>
            <a:ext cx="1618488" cy="2161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9936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785C04F1-324F-C8BD-E0A3-89249A3877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5048696"/>
            <a:ext cx="6069012" cy="1225104"/>
          </a:xfrm>
        </p:spPr>
        <p:txBody>
          <a:bodyPr/>
          <a:lstStyle/>
          <a:p>
            <a:r>
              <a:rPr lang="de-DE"/>
              <a:t>Angebote für Geschäftskunden</a:t>
            </a:r>
          </a:p>
        </p:txBody>
      </p:sp>
    </p:spTree>
    <p:extLst>
      <p:ext uri="{BB962C8B-B14F-4D97-AF65-F5344CB8AC3E}">
        <p14:creationId xmlns:p14="http://schemas.microsoft.com/office/powerpoint/2010/main" val="9405732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platzhalter 7">
            <a:extLst>
              <a:ext uri="{FF2B5EF4-FFF2-40B4-BE49-F238E27FC236}">
                <a16:creationId xmlns:a16="http://schemas.microsoft.com/office/drawing/2014/main" id="{6727E5A3-C143-85A4-53F4-F74FCA09E10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17" r="9017"/>
          <a:stretch/>
        </p:blipFill>
        <p:spPr>
          <a:xfrm>
            <a:off x="6383338" y="1881188"/>
            <a:ext cx="5400675" cy="4392612"/>
          </a:xfr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022E95C-4AD6-42C5-BE59-C1DBEFF97C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296864"/>
            <a:ext cx="8784356" cy="504000"/>
          </a:xfrm>
        </p:spPr>
        <p:txBody>
          <a:bodyPr/>
          <a:lstStyle/>
          <a:p>
            <a:r>
              <a:rPr lang="de-DE"/>
              <a:t>Unsere Services und Lösungen für Sie –</a:t>
            </a:r>
            <a:br>
              <a:rPr lang="de-DE"/>
            </a:br>
            <a:r>
              <a:rPr lang="de-DE"/>
              <a:t>maßgeschneidert und zuverlässig</a:t>
            </a:r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ADFAFDC5-E0F1-6948-8E59-3499915B96E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7989" y="1844675"/>
            <a:ext cx="5399980" cy="442912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Das sind unsere Produkte und Dienste</a:t>
            </a:r>
          </a:p>
          <a:p>
            <a:endParaRPr lang="de-DE">
              <a:sym typeface="EnBW DIN Pro"/>
            </a:endParaRPr>
          </a:p>
          <a:p>
            <a:pPr marL="269875" lvl="2" indent="-269875"/>
            <a:r>
              <a:rPr lang="de-DE" sz="1550"/>
              <a:t>Wir bieten symmetrische und asymmetrische Internetzugänge bis zu 1.000 Mbit/s.</a:t>
            </a:r>
          </a:p>
          <a:p>
            <a:pPr marL="269875" lvl="2" indent="-269875"/>
            <a:endParaRPr lang="de-DE" sz="1550"/>
          </a:p>
          <a:p>
            <a:pPr marL="269875" lvl="2" indent="-269875"/>
            <a:r>
              <a:rPr lang="de-DE" sz="1550"/>
              <a:t>Unsere Internet-Standleitungen erreichen bis zu 10 Gbit/s.</a:t>
            </a:r>
          </a:p>
          <a:p>
            <a:pPr marL="269875" lvl="2" indent="-269875"/>
            <a:endParaRPr lang="de-DE" sz="1550"/>
          </a:p>
          <a:p>
            <a:pPr marL="269875" lvl="2" indent="-269875"/>
            <a:r>
              <a:rPr lang="de-DE" sz="1550"/>
              <a:t>Unsere Standortvernetzungen bieten bis zu 100 Gbit/s.</a:t>
            </a:r>
          </a:p>
          <a:p>
            <a:pPr marL="0" lvl="2" indent="0">
              <a:buNone/>
            </a:pPr>
            <a:endParaRPr lang="de-DE" sz="1550"/>
          </a:p>
          <a:p>
            <a:pPr marL="269875" lvl="2" indent="-269875"/>
            <a:r>
              <a:rPr lang="de-DE" sz="1550"/>
              <a:t>IP-basierte Telefonielösungen.</a:t>
            </a:r>
            <a:br>
              <a:rPr lang="de-DE" sz="1550"/>
            </a:br>
            <a:endParaRPr lang="de-DE" sz="1550"/>
          </a:p>
          <a:p>
            <a:pPr marL="269875" lvl="2" indent="-269875"/>
            <a:r>
              <a:rPr lang="de-DE" sz="1550"/>
              <a:t>Wir realisieren für Sie individuelle Projektlösungen. </a:t>
            </a:r>
          </a:p>
        </p:txBody>
      </p:sp>
      <p:sp>
        <p:nvSpPr>
          <p:cNvPr id="17" name="Fußzeilenplatzhalter 16">
            <a:extLst>
              <a:ext uri="{FF2B5EF4-FFF2-40B4-BE49-F238E27FC236}">
                <a16:creationId xmlns:a16="http://schemas.microsoft.com/office/drawing/2014/main" id="{67D917D1-6FF2-8C1D-D5AD-A5A796A6DF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7" y="6543420"/>
            <a:ext cx="10044113" cy="143869"/>
          </a:xfrm>
        </p:spPr>
        <p:txBody>
          <a:bodyPr/>
          <a:lstStyle/>
          <a:p>
            <a:r>
              <a:rPr lang="de-DE"/>
              <a:t>Bereit fürs Glasfaserland?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36A098F-69A7-46FA-8C8D-1C40BD0489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fld id="{0C3D4A45-F672-4474-BA28-E624C64DA635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19" name="Inhaltsplatzhalter 6">
            <a:extLst>
              <a:ext uri="{FF2B5EF4-FFF2-40B4-BE49-F238E27FC236}">
                <a16:creationId xmlns:a16="http://schemas.microsoft.com/office/drawing/2014/main" id="{59F75962-0310-2C4D-968D-A0BB6F124FD3}"/>
              </a:ext>
            </a:extLst>
          </p:cNvPr>
          <p:cNvSpPr txBox="1">
            <a:spLocks/>
          </p:cNvSpPr>
          <p:nvPr/>
        </p:nvSpPr>
        <p:spPr>
          <a:xfrm>
            <a:off x="468195" y="1700217"/>
            <a:ext cx="5049365" cy="4752975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2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2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21468" indent="-121468" algn="l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2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242935" indent="-121468" algn="l" rtl="0" eaLnBrk="1" fontAlgn="base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0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364403" indent="-121468" algn="l" rtl="0" eaLnBrk="1" fontAlgn="base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0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485870" indent="-121468" algn="l" rtl="0" eaLnBrk="1" fontAlgn="base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000">
                <a:solidFill>
                  <a:schemeClr val="tx1"/>
                </a:solidFill>
                <a:latin typeface="+mn-lt"/>
              </a:defRPr>
            </a:lvl6pPr>
            <a:lvl7pPr marL="1893780" indent="-130934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236588" indent="-130934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2579397" indent="-130934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lvl="2" indent="0">
              <a:buNone/>
            </a:pPr>
            <a:endParaRPr lang="de-DE" sz="1600"/>
          </a:p>
        </p:txBody>
      </p:sp>
      <p:sp>
        <p:nvSpPr>
          <p:cNvPr id="8" name="Ellipse 7">
            <a:extLst>
              <a:ext uri="{FF2B5EF4-FFF2-40B4-BE49-F238E27FC236}">
                <a16:creationId xmlns:a16="http://schemas.microsoft.com/office/drawing/2014/main" id="{41186E14-072E-37FB-DA0C-BE32E7C5453C}"/>
              </a:ext>
            </a:extLst>
          </p:cNvPr>
          <p:cNvSpPr/>
          <p:nvPr/>
        </p:nvSpPr>
        <p:spPr bwMode="gray">
          <a:xfrm>
            <a:off x="5924497" y="1312587"/>
            <a:ext cx="1462046" cy="1462046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Aft>
                <a:spcPct val="0"/>
              </a:spcAft>
            </a:pPr>
            <a:r>
              <a:rPr lang="de-DE" sz="120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Starten Sie </a:t>
            </a:r>
            <a:br>
              <a:rPr lang="de-DE" sz="120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20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mit uns in die </a:t>
            </a:r>
          </a:p>
          <a:p>
            <a:pPr algn="ctr" eaLnBrk="0" fontAlgn="base" hangingPunct="0">
              <a:spcAft>
                <a:spcPct val="0"/>
              </a:spcAft>
            </a:pPr>
            <a:r>
              <a:rPr lang="de-DE" sz="140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Gigabit </a:t>
            </a:r>
            <a:br>
              <a:rPr lang="de-DE" sz="140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</a:br>
            <a:r>
              <a:rPr lang="de-DE" sz="1400">
                <a:solidFill>
                  <a:schemeClr val="bg1"/>
                </a:solidFill>
                <a:latin typeface="EnBW DIN Pro Medium" panose="020B0604020101020102" pitchFamily="34" charset="0"/>
                <a:cs typeface="EnBW DIN Pro Medium" panose="020B0604020101020102" pitchFamily="34" charset="0"/>
              </a:rPr>
              <a:t>Gesellschaft</a:t>
            </a:r>
          </a:p>
        </p:txBody>
      </p:sp>
    </p:spTree>
    <p:extLst>
      <p:ext uri="{BB962C8B-B14F-4D97-AF65-F5344CB8AC3E}">
        <p14:creationId xmlns:p14="http://schemas.microsoft.com/office/powerpoint/2010/main" val="417989884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spd="slow">
        <p159:morph option="byObject"/>
      </p:transition>
    </mc:Choice>
    <mc:Fallback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0925A78B-0ABF-6478-B1BC-B34C87E02B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96863"/>
            <a:ext cx="8784357" cy="503845"/>
          </a:xfrm>
        </p:spPr>
        <p:txBody>
          <a:bodyPr/>
          <a:lstStyle/>
          <a:p>
            <a:r>
              <a:rPr lang="de-DE" err="1"/>
              <a:t>GLASFASER.professional</a:t>
            </a: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AA253C3-DA09-02A9-43D3-B3FE4A5DC7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7" y="6543420"/>
            <a:ext cx="10044113" cy="143869"/>
          </a:xfrm>
        </p:spPr>
        <p:txBody>
          <a:bodyPr/>
          <a:lstStyle/>
          <a:p>
            <a:r>
              <a:rPr lang="de-DE"/>
              <a:t>Bereit fürs Glasfaserland? | Oktober 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C5E859-B95E-B756-F547-9FE4C3F4D3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fld id="{0BBFC357-94BC-44C8-B600-C5D15BBAA3CF}" type="slidenum">
              <a:rPr lang="de-DE" smtClean="0"/>
              <a:pPr/>
              <a:t>15</a:t>
            </a:fld>
            <a:endParaRPr lang="de-DE"/>
          </a:p>
        </p:txBody>
      </p:sp>
      <p:graphicFrame>
        <p:nvGraphicFramePr>
          <p:cNvPr id="2" name="Tabelle 1">
            <a:extLst>
              <a:ext uri="{FF2B5EF4-FFF2-40B4-BE49-F238E27FC236}">
                <a16:creationId xmlns:a16="http://schemas.microsoft.com/office/drawing/2014/main" id="{79AFFF07-91E6-5E7C-D903-4004EE65CDC5}"/>
              </a:ext>
            </a:extLst>
          </p:cNvPr>
          <p:cNvGraphicFramePr>
            <a:graphicFrameLocks noGrp="1"/>
          </p:cNvGraphicFramePr>
          <p:nvPr/>
        </p:nvGraphicFramePr>
        <p:xfrm>
          <a:off x="408000" y="1826227"/>
          <a:ext cx="10044144" cy="122400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20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5501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55018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5501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55018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55018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855018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855018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855018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800" b="0" kern="1200" err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GLASFASER.professional</a:t>
                      </a:r>
                      <a:r>
                        <a:rPr lang="de-DE" sz="1800" b="0" kern="12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>
                          <a:solidFill>
                            <a:schemeClr val="tx1"/>
                          </a:solidFill>
                          <a:latin typeface="+mn-lt"/>
                        </a:rPr>
                        <a:t>100</a:t>
                      </a:r>
                    </a:p>
                  </a:txBody>
                  <a:tcPr marL="0" marR="0" marT="14400" marB="72000"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>
                          <a:solidFill>
                            <a:schemeClr val="tx1"/>
                          </a:solidFill>
                          <a:latin typeface="+mn-lt"/>
                        </a:rPr>
                        <a:t>100 +</a:t>
                      </a:r>
                    </a:p>
                  </a:txBody>
                  <a:tcPr marL="0" marR="0" marT="14400" marB="72000"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>
                          <a:solidFill>
                            <a:schemeClr val="tx1"/>
                          </a:solidFill>
                          <a:latin typeface="+mn-lt"/>
                        </a:rPr>
                        <a:t>300</a:t>
                      </a:r>
                    </a:p>
                  </a:txBody>
                  <a:tcPr marL="0" marR="0" marT="14400" marB="72000"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>
                          <a:solidFill>
                            <a:schemeClr val="tx1"/>
                          </a:solidFill>
                          <a:latin typeface="+mn-lt"/>
                        </a:rPr>
                        <a:t>300 +</a:t>
                      </a:r>
                    </a:p>
                  </a:txBody>
                  <a:tcPr marL="0" marR="0" marT="14400" marB="72000"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>
                          <a:solidFill>
                            <a:schemeClr val="tx1"/>
                          </a:solidFill>
                          <a:latin typeface="+mn-lt"/>
                        </a:rPr>
                        <a:t>500</a:t>
                      </a:r>
                    </a:p>
                  </a:txBody>
                  <a:tcPr marL="0" marR="0" marT="14400" marB="72000"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>
                          <a:solidFill>
                            <a:schemeClr val="tx1"/>
                          </a:solidFill>
                          <a:latin typeface="+mn-lt"/>
                        </a:rPr>
                        <a:t>500 +</a:t>
                      </a:r>
                    </a:p>
                  </a:txBody>
                  <a:tcPr marL="0" marR="0" marT="14400" marB="72000"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>
                          <a:solidFill>
                            <a:schemeClr val="tx1"/>
                          </a:solidFill>
                          <a:latin typeface="+mn-lt"/>
                        </a:rPr>
                        <a:t>1.000</a:t>
                      </a:r>
                    </a:p>
                  </a:txBody>
                  <a:tcPr marL="0" marR="0" marT="14400" marB="72000"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b="1">
                          <a:solidFill>
                            <a:schemeClr val="tx1"/>
                          </a:solidFill>
                          <a:latin typeface="+mn-lt"/>
                        </a:rPr>
                        <a:t>1.000 +</a:t>
                      </a:r>
                    </a:p>
                  </a:txBody>
                  <a:tcPr marL="0" marR="0" marT="14400" marB="72000"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own-/Upload in Mbit/s</a:t>
                      </a:r>
                      <a:br>
                        <a:rPr lang="de-DE" sz="120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de-DE" sz="120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nbindung über Glasfaser</a:t>
                      </a:r>
                      <a:r>
                        <a:rPr lang="de-DE" sz="1200" kern="1200" baseline="300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100/20</a:t>
                      </a: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100/40</a:t>
                      </a: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300/60</a:t>
                      </a: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300/120</a:t>
                      </a: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500/100</a:t>
                      </a: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500/200</a:t>
                      </a: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1.000/250</a:t>
                      </a: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1.000/500</a:t>
                      </a: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eis monatlich</a:t>
                      </a:r>
                      <a:endParaRPr lang="de-DE" sz="1200" b="1" kern="12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EnBW DIN Pro"/>
                      </a:endParaRP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9,90 €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9,90 €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9,90 €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9,90 €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9,90 €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9,90 €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9,90 €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9,90 €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9" name="Textfeld 8">
            <a:extLst>
              <a:ext uri="{FF2B5EF4-FFF2-40B4-BE49-F238E27FC236}">
                <a16:creationId xmlns:a16="http://schemas.microsoft.com/office/drawing/2014/main" id="{BA10D8D8-DC02-380F-7983-85D2AA957A40}"/>
              </a:ext>
            </a:extLst>
          </p:cNvPr>
          <p:cNvSpPr txBox="1"/>
          <p:nvPr/>
        </p:nvSpPr>
        <p:spPr bwMode="gray">
          <a:xfrm>
            <a:off x="407988" y="6274439"/>
            <a:ext cx="11376000" cy="179022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 algn="r">
              <a:tabLst>
                <a:tab pos="88900" algn="l"/>
              </a:tabLst>
            </a:pPr>
            <a:r>
              <a:rPr lang="de-DE" sz="1000" spc="10" baseline="30000">
                <a:cs typeface="EnBW DIN Pro"/>
              </a:rPr>
              <a:t>1	</a:t>
            </a:r>
            <a:r>
              <a:rPr lang="de-DE" sz="1000" spc="10">
                <a:cs typeface="EnBW DIN Pro"/>
              </a:rPr>
              <a:t>Die Verfügbarkeit setzt die technische Realisierbarkeit sowie einen Glasfasergebäudeanschluss voraus. Gerne prüfen wir die Verfügbarkeit individuell für Ihren Standort.</a:t>
            </a:r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3706FD21-679A-93FF-1D40-00EC36EC79E8}"/>
              </a:ext>
            </a:extLst>
          </p:cNvPr>
          <p:cNvGraphicFramePr>
            <a:graphicFrameLocks noGrp="1"/>
          </p:cNvGraphicFramePr>
          <p:nvPr/>
        </p:nvGraphicFramePr>
        <p:xfrm>
          <a:off x="408000" y="3419033"/>
          <a:ext cx="10043743" cy="122472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576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3885946516"/>
                    </a:ext>
                  </a:extLst>
                </a:gridCol>
                <a:gridCol w="410374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800" b="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Times New Roman"/>
                          <a:cs typeface="EnBW DIN Pro"/>
                        </a:rPr>
                        <a:t>Einrichtungsentgelt</a:t>
                      </a:r>
                    </a:p>
                  </a:txBody>
                  <a:tcPr marL="0" marR="0" marT="14400" marB="72000"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endParaRPr lang="de-DE" sz="1800" b="0" kern="1200">
                        <a:solidFill>
                          <a:schemeClr val="tx2"/>
                        </a:solidFill>
                        <a:effectLst/>
                        <a:latin typeface="+mj-lt"/>
                        <a:ea typeface="Times New Roman"/>
                        <a:cs typeface="EnBW DIN Pro"/>
                      </a:endParaRPr>
                    </a:p>
                  </a:txBody>
                  <a:tcPr marL="0" marR="0" marT="14400" marB="72000"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b="0">
                          <a:solidFill>
                            <a:schemeClr val="tx1"/>
                          </a:solidFill>
                          <a:latin typeface="+mj-lt"/>
                        </a:rPr>
                        <a:t>Preis einmalig</a:t>
                      </a: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ei einer Vertragslaufzeit von 36, 48 oder 60 Monaten</a:t>
                      </a: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200" b="0" kern="120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4400" marB="144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solidFill>
                            <a:schemeClr val="tx1"/>
                          </a:solidFill>
                        </a:rPr>
                        <a:t>kostenlos</a:t>
                      </a: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ei einer Vertragslaufzeit von 24 Monaten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200" b="0" kern="120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4400" marB="144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solidFill>
                            <a:schemeClr val="tx1"/>
                          </a:solidFill>
                        </a:rPr>
                        <a:t>99,00 €</a:t>
                      </a:r>
                    </a:p>
                  </a:txBody>
                  <a:tcPr marL="0" marR="180000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ei einer Vertragslaufzeit von 12 Monaten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200" b="0" kern="120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4400" marB="144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>
                          <a:solidFill>
                            <a:schemeClr val="tx1"/>
                          </a:solidFill>
                        </a:rPr>
                        <a:t>149,00 €</a:t>
                      </a:r>
                    </a:p>
                  </a:txBody>
                  <a:tcPr marL="0" marR="180000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4915082"/>
                  </a:ext>
                </a:extLst>
              </a:tr>
            </a:tbl>
          </a:graphicData>
        </a:graphic>
      </p:graphicFrame>
      <p:graphicFrame>
        <p:nvGraphicFramePr>
          <p:cNvPr id="13" name="Tabelle 12">
            <a:extLst>
              <a:ext uri="{FF2B5EF4-FFF2-40B4-BE49-F238E27FC236}">
                <a16:creationId xmlns:a16="http://schemas.microsoft.com/office/drawing/2014/main" id="{193DEBC1-79FD-C800-AA6E-88E16EB1A274}"/>
              </a:ext>
            </a:extLst>
          </p:cNvPr>
          <p:cNvGraphicFramePr>
            <a:graphicFrameLocks noGrp="1"/>
          </p:cNvGraphicFramePr>
          <p:nvPr/>
        </p:nvGraphicFramePr>
        <p:xfrm>
          <a:off x="408094" y="4724560"/>
          <a:ext cx="10044000" cy="122472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576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000">
                  <a:extLst>
                    <a:ext uri="{9D8B030D-6E8A-4147-A177-3AD203B41FA5}">
                      <a16:colId xmlns:a16="http://schemas.microsoft.com/office/drawing/2014/main" val="2511779849"/>
                    </a:ext>
                  </a:extLst>
                </a:gridCol>
                <a:gridCol w="410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800" b="0" kern="1200">
                          <a:solidFill>
                            <a:schemeClr val="tx1"/>
                          </a:solidFill>
                          <a:effectLst/>
                          <a:latin typeface="+mj-lt"/>
                          <a:ea typeface="Times New Roman"/>
                          <a:cs typeface="EnBW DIN Pro"/>
                        </a:rPr>
                        <a:t>Optionen</a:t>
                      </a:r>
                    </a:p>
                  </a:txBody>
                  <a:tcPr marL="0" marR="0" marT="14400" marB="72000"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endParaRPr lang="de-DE" sz="1800" b="0" kern="1200">
                        <a:solidFill>
                          <a:schemeClr val="tx2"/>
                        </a:solidFill>
                        <a:effectLst/>
                        <a:latin typeface="+mj-lt"/>
                        <a:ea typeface="Times New Roman"/>
                        <a:cs typeface="EnBW DIN Pro"/>
                      </a:endParaRPr>
                    </a:p>
                  </a:txBody>
                  <a:tcPr marL="0" marR="0" marT="14400" marB="72000"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1800" b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ine dynamische IPv4-Adresse </a:t>
                      </a:r>
                      <a:r>
                        <a:rPr lang="de-DE" sz="1200" b="1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zusätzlich</a:t>
                      </a:r>
                      <a:r>
                        <a:rPr lang="de-DE" sz="12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zur standardmäßig vorhandenen</a:t>
                      </a:r>
                      <a:br>
                        <a:rPr lang="de-DE" sz="12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de-DE" sz="12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ynamischen IPv6-WAN-Adresse mit/56 Präfix (Dual Stack)</a:t>
                      </a: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200" b="0" kern="120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4400" marB="144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>
                          <a:solidFill>
                            <a:schemeClr val="tx1"/>
                          </a:solidFill>
                        </a:rPr>
                        <a:t>20,00 €</a:t>
                      </a:r>
                    </a:p>
                  </a:txBody>
                  <a:tcPr marL="0" marR="1800000" marT="14400" marB="144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2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ine feste, öffentliche IPv4-Adresse </a:t>
                      </a:r>
                      <a:r>
                        <a:rPr lang="de-DE" sz="1200" b="1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zusätzlich</a:t>
                      </a:r>
                      <a:r>
                        <a:rPr lang="de-DE" sz="12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zur standardmäßig vorhandenen</a:t>
                      </a:r>
                      <a:br>
                        <a:rPr lang="de-DE" sz="12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de-DE" sz="12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ynamischen IPv6-WAN-Adresse mit/56 Präfix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200" b="0" kern="120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4400" marB="144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>
                          <a:solidFill>
                            <a:schemeClr val="tx1"/>
                          </a:solidFill>
                        </a:rPr>
                        <a:t>30,00 €</a:t>
                      </a:r>
                    </a:p>
                  </a:txBody>
                  <a:tcPr marL="0" marR="180000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510584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platzhalter 8">
            <a:extLst>
              <a:ext uri="{FF2B5EF4-FFF2-40B4-BE49-F238E27FC236}">
                <a16:creationId xmlns:a16="http://schemas.microsoft.com/office/drawing/2014/main" id="{6D309084-48DC-C2B7-3414-9B2A10D4E50C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" b="26"/>
          <a:stretch/>
        </p:blipFill>
        <p:spPr>
          <a:xfrm flipH="1">
            <a:off x="6383338" y="1881188"/>
            <a:ext cx="5400675" cy="4392612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5197FE16-72F1-0AB7-23E5-115E4916CC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Kurz und knapp:</a:t>
            </a:r>
            <a:br>
              <a:rPr lang="de-DE"/>
            </a:br>
            <a:r>
              <a:rPr lang="de-DE"/>
              <a:t>ComBusiness pho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D61C6D1A-3FAD-BC4A-C8A8-7F924AF1D991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>
              <a:spcAft>
                <a:spcPts val="300"/>
              </a:spcAft>
            </a:pPr>
            <a:r>
              <a:rPr lang="de-DE" sz="1650">
                <a:solidFill>
                  <a:schemeClr val="tx1"/>
                </a:solidFill>
              </a:rPr>
              <a:t>Perfekte Ergänzung für Ihre individuelle Internetlösung</a:t>
            </a:r>
          </a:p>
          <a:p>
            <a:pPr lvl="2">
              <a:spcAft>
                <a:spcPts val="0"/>
              </a:spcAft>
            </a:pPr>
            <a:r>
              <a:rPr lang="de-DE" sz="1450"/>
              <a:t>IP-basierter Telefonanschluss</a:t>
            </a:r>
          </a:p>
          <a:p>
            <a:pPr lvl="2">
              <a:spcAft>
                <a:spcPts val="0"/>
              </a:spcAft>
            </a:pPr>
            <a:r>
              <a:rPr lang="de-DE" sz="1450"/>
              <a:t>Flatrate ins deutsche Festnetz</a:t>
            </a:r>
          </a:p>
          <a:p>
            <a:pPr lvl="2">
              <a:spcAft>
                <a:spcPts val="0"/>
              </a:spcAft>
            </a:pPr>
            <a:r>
              <a:rPr lang="de-DE" sz="1450"/>
              <a:t>Vor-Ort-Installation inklusive</a:t>
            </a:r>
          </a:p>
          <a:p>
            <a:pPr lvl="2">
              <a:spcAft>
                <a:spcPts val="0"/>
              </a:spcAft>
            </a:pPr>
            <a:r>
              <a:rPr lang="de-DE" sz="1450"/>
              <a:t>Hardware auf Leihbasis</a:t>
            </a:r>
          </a:p>
          <a:p>
            <a:pPr lvl="2">
              <a:spcAft>
                <a:spcPts val="0"/>
              </a:spcAft>
            </a:pPr>
            <a:r>
              <a:rPr lang="de-DE" sz="1450"/>
              <a:t>Mitnahme Telefonnummern</a:t>
            </a:r>
          </a:p>
          <a:p>
            <a:pPr lvl="2">
              <a:spcAft>
                <a:spcPts val="900"/>
              </a:spcAft>
            </a:pPr>
            <a:r>
              <a:rPr lang="de-DE" sz="1450"/>
              <a:t>2 bis 100 Sprachkanäle</a:t>
            </a:r>
          </a:p>
          <a:p>
            <a:pPr>
              <a:spcAft>
                <a:spcPts val="300"/>
              </a:spcAft>
            </a:pPr>
            <a:r>
              <a:rPr lang="de-DE" sz="1650">
                <a:solidFill>
                  <a:schemeClr val="tx1"/>
                </a:solidFill>
              </a:rPr>
              <a:t>Auswahl aus mehreren Varianten</a:t>
            </a:r>
          </a:p>
          <a:p>
            <a:pPr lvl="2">
              <a:spcAft>
                <a:spcPts val="0"/>
              </a:spcAft>
            </a:pPr>
            <a:r>
              <a:rPr lang="de-DE" sz="1450"/>
              <a:t>Mehrgeräteanschluss</a:t>
            </a:r>
          </a:p>
          <a:p>
            <a:pPr lvl="2">
              <a:spcAft>
                <a:spcPts val="900"/>
              </a:spcAft>
            </a:pPr>
            <a:r>
              <a:rPr lang="de-DE" sz="1450"/>
              <a:t>SIP-Trunk</a:t>
            </a:r>
          </a:p>
          <a:p>
            <a:pPr>
              <a:spcAft>
                <a:spcPts val="300"/>
              </a:spcAft>
            </a:pPr>
            <a:r>
              <a:rPr lang="de-DE" sz="1650">
                <a:solidFill>
                  <a:schemeClr val="tx1"/>
                </a:solidFill>
              </a:rPr>
              <a:t>Zusatzoptionen machen flexibel</a:t>
            </a:r>
          </a:p>
          <a:p>
            <a:pPr lvl="2">
              <a:spcAft>
                <a:spcPts val="0"/>
              </a:spcAft>
            </a:pPr>
            <a:r>
              <a:rPr lang="de-DE" sz="1450"/>
              <a:t>Erweiterungen der Rufnummern</a:t>
            </a:r>
          </a:p>
          <a:p>
            <a:pPr lvl="2">
              <a:spcAft>
                <a:spcPts val="0"/>
              </a:spcAft>
            </a:pPr>
            <a:r>
              <a:rPr lang="de-DE" sz="1450"/>
              <a:t>Mobilfunk-Optionen</a:t>
            </a:r>
          </a:p>
          <a:p>
            <a:pPr lvl="2">
              <a:spcAft>
                <a:spcPts val="0"/>
              </a:spcAft>
            </a:pPr>
            <a:r>
              <a:rPr lang="de-DE" sz="1450"/>
              <a:t>Europa-Minutenpakete</a:t>
            </a:r>
          </a:p>
          <a:p>
            <a:pPr lvl="2">
              <a:spcAft>
                <a:spcPts val="0"/>
              </a:spcAft>
            </a:pPr>
            <a:r>
              <a:rPr lang="de-DE" sz="1450"/>
              <a:t>Flexibel buchbare Servicelevel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5D16CAD-5C2A-EA7D-4265-01A323E56C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ereit fürs Glasfaserland?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75DDF83-4178-DEF4-C5E6-AFDD330F9E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10090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>
            <a:extLst>
              <a:ext uri="{FF2B5EF4-FFF2-40B4-BE49-F238E27FC236}">
                <a16:creationId xmlns:a16="http://schemas.microsoft.com/office/drawing/2014/main" id="{558E5E82-C403-4D1F-9934-B8921552708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07988" y="3451412"/>
            <a:ext cx="4401756" cy="1424248"/>
          </a:xfrm>
          <a:ln>
            <a:noFill/>
          </a:ln>
        </p:spPr>
        <p:txBody>
          <a:bodyPr/>
          <a:lstStyle/>
          <a:p>
            <a:pPr lvl="1">
              <a:spcAft>
                <a:spcPts val="1200"/>
              </a:spcAft>
            </a:pPr>
            <a:r>
              <a:rPr lang="en-GB" sz="2000" dirty="0">
                <a:latin typeface="+mj-lt"/>
              </a:rPr>
              <a:t> </a:t>
            </a:r>
            <a:r>
              <a:rPr lang="en-GB" dirty="0"/>
              <a:t> </a:t>
            </a:r>
            <a:r>
              <a:rPr lang="en-GB" sz="2000" b="1" dirty="0"/>
              <a:t>Stefanie Reiser</a:t>
            </a:r>
            <a:endParaRPr lang="en-GB" dirty="0"/>
          </a:p>
          <a:p>
            <a:pPr lvl="1">
              <a:spcAft>
                <a:spcPts val="1200"/>
              </a:spcAft>
            </a:pPr>
            <a:r>
              <a:rPr lang="en-GB" dirty="0"/>
              <a:t> Tel.: +49 7961 56951-6254</a:t>
            </a:r>
          </a:p>
          <a:p>
            <a:pPr lvl="1">
              <a:spcAft>
                <a:spcPts val="0"/>
              </a:spcAft>
            </a:pPr>
            <a:r>
              <a:rPr lang="en-GB" dirty="0"/>
              <a:t> E-Mail: stefanienadine.reiser@netcom-bw.de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DC29A8C-EE30-45F2-A155-40798D1421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e-DE" sz="6000" noProof="0" dirty="0"/>
              <a:t>Wir sorgen für starke</a:t>
            </a:r>
            <a:br>
              <a:rPr lang="de-DE" sz="6000" noProof="0" dirty="0"/>
            </a:br>
            <a:r>
              <a:rPr lang="de-DE" sz="6000" noProof="0" dirty="0"/>
              <a:t>Verbindungen!</a:t>
            </a:r>
            <a:br>
              <a:rPr lang="de-DE" sz="6000" noProof="0" dirty="0"/>
            </a:br>
            <a:endParaRPr lang="de-DE" sz="6000" noProof="0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209D61D8-2133-8784-7F6F-4E71DFA82338}"/>
              </a:ext>
            </a:extLst>
          </p:cNvPr>
          <p:cNvSpPr txBox="1"/>
          <p:nvPr/>
        </p:nvSpPr>
        <p:spPr>
          <a:xfrm>
            <a:off x="407988" y="2322576"/>
            <a:ext cx="7723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3200" dirty="0">
                <a:solidFill>
                  <a:schemeClr val="bg1"/>
                </a:solidFill>
              </a:rPr>
              <a:t>Ansprechpartnerin für Gewerbekunden:</a:t>
            </a:r>
            <a:r>
              <a:rPr lang="de-DE" dirty="0"/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3328482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133">
              <a:latin typeface="EnBW DIN Pro"/>
              <a:cs typeface="+mj-cs"/>
              <a:sym typeface="EnBW DIN Pro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07987" y="296863"/>
            <a:ext cx="8784357" cy="503845"/>
          </a:xfrm>
        </p:spPr>
        <p:txBody>
          <a:bodyPr vert="horz"/>
          <a:lstStyle/>
          <a:p>
            <a:r>
              <a:rPr lang="de-DE"/>
              <a:t>Das ist die </a:t>
            </a:r>
            <a:r>
              <a:rPr lang="de-DE" err="1"/>
              <a:t>NetCom</a:t>
            </a:r>
            <a:r>
              <a:rPr lang="de-DE"/>
              <a:t> BW</a:t>
            </a:r>
          </a:p>
        </p:txBody>
      </p:sp>
      <p:sp>
        <p:nvSpPr>
          <p:cNvPr id="98" name="Foliennummernplatzhalter 97">
            <a:extLst>
              <a:ext uri="{FF2B5EF4-FFF2-40B4-BE49-F238E27FC236}">
                <a16:creationId xmlns:a16="http://schemas.microsoft.com/office/drawing/2014/main" id="{E29B5632-200D-57F1-A0A8-5BEC4E9E9A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fld id="{0BBFC357-94BC-44C8-B600-C5D15BBAA3CF}" type="slidenum">
              <a:rPr lang="de-DE" smtClean="0"/>
              <a:pPr/>
              <a:t>2</a:t>
            </a:fld>
            <a:endParaRPr lang="de-DE"/>
          </a:p>
        </p:txBody>
      </p:sp>
      <p:sp>
        <p:nvSpPr>
          <p:cNvPr id="44" name="Freeform 90">
            <a:extLst>
              <a:ext uri="{FF2B5EF4-FFF2-40B4-BE49-F238E27FC236}">
                <a16:creationId xmlns:a16="http://schemas.microsoft.com/office/drawing/2014/main" id="{AD522C66-671A-4109-B655-9367D6688792}"/>
              </a:ext>
            </a:extLst>
          </p:cNvPr>
          <p:cNvSpPr>
            <a:spLocks/>
          </p:cNvSpPr>
          <p:nvPr/>
        </p:nvSpPr>
        <p:spPr bwMode="gray">
          <a:xfrm>
            <a:off x="7464152" y="1640980"/>
            <a:ext cx="3958205" cy="4595944"/>
          </a:xfrm>
          <a:custGeom>
            <a:avLst/>
            <a:gdLst>
              <a:gd name="T0" fmla="*/ 476 w 726"/>
              <a:gd name="T1" fmla="*/ 756 h 788"/>
              <a:gd name="T2" fmla="*/ 440 w 726"/>
              <a:gd name="T3" fmla="*/ 748 h 788"/>
              <a:gd name="T4" fmla="*/ 420 w 726"/>
              <a:gd name="T5" fmla="*/ 730 h 788"/>
              <a:gd name="T6" fmla="*/ 402 w 726"/>
              <a:gd name="T7" fmla="*/ 712 h 788"/>
              <a:gd name="T8" fmla="*/ 372 w 726"/>
              <a:gd name="T9" fmla="*/ 696 h 788"/>
              <a:gd name="T10" fmla="*/ 368 w 726"/>
              <a:gd name="T11" fmla="*/ 704 h 788"/>
              <a:gd name="T12" fmla="*/ 402 w 726"/>
              <a:gd name="T13" fmla="*/ 736 h 788"/>
              <a:gd name="T14" fmla="*/ 394 w 726"/>
              <a:gd name="T15" fmla="*/ 744 h 788"/>
              <a:gd name="T16" fmla="*/ 346 w 726"/>
              <a:gd name="T17" fmla="*/ 720 h 788"/>
              <a:gd name="T18" fmla="*/ 346 w 726"/>
              <a:gd name="T19" fmla="*/ 728 h 788"/>
              <a:gd name="T20" fmla="*/ 346 w 726"/>
              <a:gd name="T21" fmla="*/ 740 h 788"/>
              <a:gd name="T22" fmla="*/ 302 w 726"/>
              <a:gd name="T23" fmla="*/ 740 h 788"/>
              <a:gd name="T24" fmla="*/ 218 w 726"/>
              <a:gd name="T25" fmla="*/ 722 h 788"/>
              <a:gd name="T26" fmla="*/ 238 w 726"/>
              <a:gd name="T27" fmla="*/ 774 h 788"/>
              <a:gd name="T28" fmla="*/ 204 w 726"/>
              <a:gd name="T29" fmla="*/ 778 h 788"/>
              <a:gd name="T30" fmla="*/ 156 w 726"/>
              <a:gd name="T31" fmla="*/ 762 h 788"/>
              <a:gd name="T32" fmla="*/ 110 w 726"/>
              <a:gd name="T33" fmla="*/ 780 h 788"/>
              <a:gd name="T34" fmla="*/ 76 w 726"/>
              <a:gd name="T35" fmla="*/ 774 h 788"/>
              <a:gd name="T36" fmla="*/ 40 w 726"/>
              <a:gd name="T37" fmla="*/ 782 h 788"/>
              <a:gd name="T38" fmla="*/ 8 w 726"/>
              <a:gd name="T39" fmla="*/ 748 h 788"/>
              <a:gd name="T40" fmla="*/ 4 w 726"/>
              <a:gd name="T41" fmla="*/ 708 h 788"/>
              <a:gd name="T42" fmla="*/ 6 w 726"/>
              <a:gd name="T43" fmla="*/ 670 h 788"/>
              <a:gd name="T44" fmla="*/ 22 w 726"/>
              <a:gd name="T45" fmla="*/ 618 h 788"/>
              <a:gd name="T46" fmla="*/ 22 w 726"/>
              <a:gd name="T47" fmla="*/ 584 h 788"/>
              <a:gd name="T48" fmla="*/ 56 w 726"/>
              <a:gd name="T49" fmla="*/ 512 h 788"/>
              <a:gd name="T50" fmla="*/ 60 w 726"/>
              <a:gd name="T51" fmla="*/ 482 h 788"/>
              <a:gd name="T52" fmla="*/ 80 w 726"/>
              <a:gd name="T53" fmla="*/ 426 h 788"/>
              <a:gd name="T54" fmla="*/ 96 w 726"/>
              <a:gd name="T55" fmla="*/ 400 h 788"/>
              <a:gd name="T56" fmla="*/ 116 w 726"/>
              <a:gd name="T57" fmla="*/ 370 h 788"/>
              <a:gd name="T58" fmla="*/ 144 w 726"/>
              <a:gd name="T59" fmla="*/ 346 h 788"/>
              <a:gd name="T60" fmla="*/ 156 w 726"/>
              <a:gd name="T61" fmla="*/ 318 h 788"/>
              <a:gd name="T62" fmla="*/ 208 w 726"/>
              <a:gd name="T63" fmla="*/ 250 h 788"/>
              <a:gd name="T64" fmla="*/ 220 w 726"/>
              <a:gd name="T65" fmla="*/ 218 h 788"/>
              <a:gd name="T66" fmla="*/ 242 w 726"/>
              <a:gd name="T67" fmla="*/ 180 h 788"/>
              <a:gd name="T68" fmla="*/ 246 w 726"/>
              <a:gd name="T69" fmla="*/ 144 h 788"/>
              <a:gd name="T70" fmla="*/ 234 w 726"/>
              <a:gd name="T71" fmla="*/ 118 h 788"/>
              <a:gd name="T72" fmla="*/ 270 w 726"/>
              <a:gd name="T73" fmla="*/ 82 h 788"/>
              <a:gd name="T74" fmla="*/ 302 w 726"/>
              <a:gd name="T75" fmla="*/ 68 h 788"/>
              <a:gd name="T76" fmla="*/ 320 w 726"/>
              <a:gd name="T77" fmla="*/ 130 h 788"/>
              <a:gd name="T78" fmla="*/ 358 w 726"/>
              <a:gd name="T79" fmla="*/ 80 h 788"/>
              <a:gd name="T80" fmla="*/ 420 w 726"/>
              <a:gd name="T81" fmla="*/ 68 h 788"/>
              <a:gd name="T82" fmla="*/ 444 w 726"/>
              <a:gd name="T83" fmla="*/ 6 h 788"/>
              <a:gd name="T84" fmla="*/ 506 w 726"/>
              <a:gd name="T85" fmla="*/ 0 h 788"/>
              <a:gd name="T86" fmla="*/ 536 w 726"/>
              <a:gd name="T87" fmla="*/ 32 h 788"/>
              <a:gd name="T88" fmla="*/ 558 w 726"/>
              <a:gd name="T89" fmla="*/ 68 h 788"/>
              <a:gd name="T90" fmla="*/ 592 w 726"/>
              <a:gd name="T91" fmla="*/ 94 h 788"/>
              <a:gd name="T92" fmla="*/ 634 w 726"/>
              <a:gd name="T93" fmla="*/ 108 h 788"/>
              <a:gd name="T94" fmla="*/ 640 w 726"/>
              <a:gd name="T95" fmla="*/ 200 h 788"/>
              <a:gd name="T96" fmla="*/ 710 w 726"/>
              <a:gd name="T97" fmla="*/ 326 h 788"/>
              <a:gd name="T98" fmla="*/ 706 w 726"/>
              <a:gd name="T99" fmla="*/ 378 h 788"/>
              <a:gd name="T100" fmla="*/ 664 w 726"/>
              <a:gd name="T101" fmla="*/ 376 h 788"/>
              <a:gd name="T102" fmla="*/ 640 w 726"/>
              <a:gd name="T103" fmla="*/ 452 h 788"/>
              <a:gd name="T104" fmla="*/ 596 w 726"/>
              <a:gd name="T105" fmla="*/ 510 h 788"/>
              <a:gd name="T106" fmla="*/ 636 w 726"/>
              <a:gd name="T107" fmla="*/ 632 h 788"/>
              <a:gd name="T108" fmla="*/ 624 w 726"/>
              <a:gd name="T109" fmla="*/ 694 h 788"/>
              <a:gd name="T110" fmla="*/ 610 w 726"/>
              <a:gd name="T111" fmla="*/ 730 h 788"/>
              <a:gd name="T112" fmla="*/ 530 w 726"/>
              <a:gd name="T113" fmla="*/ 758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726" h="788">
                <a:moveTo>
                  <a:pt x="498" y="774"/>
                </a:moveTo>
                <a:lnTo>
                  <a:pt x="498" y="774"/>
                </a:lnTo>
                <a:lnTo>
                  <a:pt x="486" y="762"/>
                </a:lnTo>
                <a:lnTo>
                  <a:pt x="486" y="762"/>
                </a:lnTo>
                <a:lnTo>
                  <a:pt x="476" y="756"/>
                </a:lnTo>
                <a:lnTo>
                  <a:pt x="464" y="752"/>
                </a:lnTo>
                <a:lnTo>
                  <a:pt x="454" y="750"/>
                </a:lnTo>
                <a:lnTo>
                  <a:pt x="444" y="750"/>
                </a:lnTo>
                <a:lnTo>
                  <a:pt x="444" y="750"/>
                </a:lnTo>
                <a:lnTo>
                  <a:pt x="440" y="748"/>
                </a:lnTo>
                <a:lnTo>
                  <a:pt x="436" y="748"/>
                </a:lnTo>
                <a:lnTo>
                  <a:pt x="430" y="742"/>
                </a:lnTo>
                <a:lnTo>
                  <a:pt x="424" y="736"/>
                </a:lnTo>
                <a:lnTo>
                  <a:pt x="420" y="730"/>
                </a:lnTo>
                <a:lnTo>
                  <a:pt x="420" y="730"/>
                </a:lnTo>
                <a:lnTo>
                  <a:pt x="414" y="724"/>
                </a:lnTo>
                <a:lnTo>
                  <a:pt x="410" y="718"/>
                </a:lnTo>
                <a:lnTo>
                  <a:pt x="406" y="714"/>
                </a:lnTo>
                <a:lnTo>
                  <a:pt x="402" y="712"/>
                </a:lnTo>
                <a:lnTo>
                  <a:pt x="402" y="712"/>
                </a:lnTo>
                <a:lnTo>
                  <a:pt x="396" y="710"/>
                </a:lnTo>
                <a:lnTo>
                  <a:pt x="390" y="708"/>
                </a:lnTo>
                <a:lnTo>
                  <a:pt x="382" y="702"/>
                </a:lnTo>
                <a:lnTo>
                  <a:pt x="382" y="702"/>
                </a:lnTo>
                <a:lnTo>
                  <a:pt x="372" y="696"/>
                </a:lnTo>
                <a:lnTo>
                  <a:pt x="368" y="696"/>
                </a:lnTo>
                <a:lnTo>
                  <a:pt x="366" y="698"/>
                </a:lnTo>
                <a:lnTo>
                  <a:pt x="366" y="698"/>
                </a:lnTo>
                <a:lnTo>
                  <a:pt x="366" y="702"/>
                </a:lnTo>
                <a:lnTo>
                  <a:pt x="368" y="704"/>
                </a:lnTo>
                <a:lnTo>
                  <a:pt x="376" y="712"/>
                </a:lnTo>
                <a:lnTo>
                  <a:pt x="396" y="724"/>
                </a:lnTo>
                <a:lnTo>
                  <a:pt x="396" y="724"/>
                </a:lnTo>
                <a:lnTo>
                  <a:pt x="400" y="730"/>
                </a:lnTo>
                <a:lnTo>
                  <a:pt x="402" y="736"/>
                </a:lnTo>
                <a:lnTo>
                  <a:pt x="402" y="740"/>
                </a:lnTo>
                <a:lnTo>
                  <a:pt x="400" y="744"/>
                </a:lnTo>
                <a:lnTo>
                  <a:pt x="400" y="744"/>
                </a:lnTo>
                <a:lnTo>
                  <a:pt x="398" y="744"/>
                </a:lnTo>
                <a:lnTo>
                  <a:pt x="394" y="744"/>
                </a:lnTo>
                <a:lnTo>
                  <a:pt x="386" y="740"/>
                </a:lnTo>
                <a:lnTo>
                  <a:pt x="368" y="728"/>
                </a:lnTo>
                <a:lnTo>
                  <a:pt x="368" y="728"/>
                </a:lnTo>
                <a:lnTo>
                  <a:pt x="352" y="720"/>
                </a:lnTo>
                <a:lnTo>
                  <a:pt x="346" y="720"/>
                </a:lnTo>
                <a:lnTo>
                  <a:pt x="344" y="720"/>
                </a:lnTo>
                <a:lnTo>
                  <a:pt x="344" y="722"/>
                </a:lnTo>
                <a:lnTo>
                  <a:pt x="344" y="722"/>
                </a:lnTo>
                <a:lnTo>
                  <a:pt x="344" y="726"/>
                </a:lnTo>
                <a:lnTo>
                  <a:pt x="346" y="728"/>
                </a:lnTo>
                <a:lnTo>
                  <a:pt x="348" y="732"/>
                </a:lnTo>
                <a:lnTo>
                  <a:pt x="350" y="736"/>
                </a:lnTo>
                <a:lnTo>
                  <a:pt x="350" y="736"/>
                </a:lnTo>
                <a:lnTo>
                  <a:pt x="348" y="740"/>
                </a:lnTo>
                <a:lnTo>
                  <a:pt x="346" y="740"/>
                </a:lnTo>
                <a:lnTo>
                  <a:pt x="336" y="742"/>
                </a:lnTo>
                <a:lnTo>
                  <a:pt x="328" y="726"/>
                </a:lnTo>
                <a:lnTo>
                  <a:pt x="318" y="726"/>
                </a:lnTo>
                <a:lnTo>
                  <a:pt x="314" y="740"/>
                </a:lnTo>
                <a:lnTo>
                  <a:pt x="302" y="740"/>
                </a:lnTo>
                <a:lnTo>
                  <a:pt x="292" y="722"/>
                </a:lnTo>
                <a:lnTo>
                  <a:pt x="290" y="700"/>
                </a:lnTo>
                <a:lnTo>
                  <a:pt x="252" y="702"/>
                </a:lnTo>
                <a:lnTo>
                  <a:pt x="246" y="716"/>
                </a:lnTo>
                <a:lnTo>
                  <a:pt x="218" y="722"/>
                </a:lnTo>
                <a:lnTo>
                  <a:pt x="230" y="746"/>
                </a:lnTo>
                <a:lnTo>
                  <a:pt x="250" y="744"/>
                </a:lnTo>
                <a:lnTo>
                  <a:pt x="252" y="754"/>
                </a:lnTo>
                <a:lnTo>
                  <a:pt x="232" y="764"/>
                </a:lnTo>
                <a:lnTo>
                  <a:pt x="238" y="774"/>
                </a:lnTo>
                <a:lnTo>
                  <a:pt x="226" y="782"/>
                </a:lnTo>
                <a:lnTo>
                  <a:pt x="226" y="782"/>
                </a:lnTo>
                <a:lnTo>
                  <a:pt x="220" y="780"/>
                </a:lnTo>
                <a:lnTo>
                  <a:pt x="204" y="778"/>
                </a:lnTo>
                <a:lnTo>
                  <a:pt x="204" y="778"/>
                </a:lnTo>
                <a:lnTo>
                  <a:pt x="194" y="778"/>
                </a:lnTo>
                <a:lnTo>
                  <a:pt x="184" y="774"/>
                </a:lnTo>
                <a:lnTo>
                  <a:pt x="162" y="764"/>
                </a:lnTo>
                <a:lnTo>
                  <a:pt x="162" y="764"/>
                </a:lnTo>
                <a:lnTo>
                  <a:pt x="156" y="762"/>
                </a:lnTo>
                <a:lnTo>
                  <a:pt x="148" y="764"/>
                </a:lnTo>
                <a:lnTo>
                  <a:pt x="136" y="768"/>
                </a:lnTo>
                <a:lnTo>
                  <a:pt x="122" y="776"/>
                </a:lnTo>
                <a:lnTo>
                  <a:pt x="110" y="780"/>
                </a:lnTo>
                <a:lnTo>
                  <a:pt x="110" y="780"/>
                </a:lnTo>
                <a:lnTo>
                  <a:pt x="98" y="782"/>
                </a:lnTo>
                <a:lnTo>
                  <a:pt x="90" y="782"/>
                </a:lnTo>
                <a:lnTo>
                  <a:pt x="82" y="778"/>
                </a:lnTo>
                <a:lnTo>
                  <a:pt x="76" y="774"/>
                </a:lnTo>
                <a:lnTo>
                  <a:pt x="76" y="774"/>
                </a:lnTo>
                <a:lnTo>
                  <a:pt x="72" y="774"/>
                </a:lnTo>
                <a:lnTo>
                  <a:pt x="68" y="774"/>
                </a:lnTo>
                <a:lnTo>
                  <a:pt x="58" y="778"/>
                </a:lnTo>
                <a:lnTo>
                  <a:pt x="48" y="788"/>
                </a:lnTo>
                <a:lnTo>
                  <a:pt x="40" y="782"/>
                </a:lnTo>
                <a:lnTo>
                  <a:pt x="60" y="754"/>
                </a:lnTo>
                <a:lnTo>
                  <a:pt x="44" y="744"/>
                </a:lnTo>
                <a:lnTo>
                  <a:pt x="18" y="766"/>
                </a:lnTo>
                <a:lnTo>
                  <a:pt x="18" y="766"/>
                </a:lnTo>
                <a:lnTo>
                  <a:pt x="8" y="748"/>
                </a:lnTo>
                <a:lnTo>
                  <a:pt x="4" y="736"/>
                </a:lnTo>
                <a:lnTo>
                  <a:pt x="4" y="730"/>
                </a:lnTo>
                <a:lnTo>
                  <a:pt x="4" y="722"/>
                </a:lnTo>
                <a:lnTo>
                  <a:pt x="4" y="722"/>
                </a:lnTo>
                <a:lnTo>
                  <a:pt x="4" y="708"/>
                </a:lnTo>
                <a:lnTo>
                  <a:pt x="0" y="692"/>
                </a:lnTo>
                <a:lnTo>
                  <a:pt x="0" y="692"/>
                </a:lnTo>
                <a:lnTo>
                  <a:pt x="0" y="686"/>
                </a:lnTo>
                <a:lnTo>
                  <a:pt x="2" y="682"/>
                </a:lnTo>
                <a:lnTo>
                  <a:pt x="6" y="670"/>
                </a:lnTo>
                <a:lnTo>
                  <a:pt x="18" y="644"/>
                </a:lnTo>
                <a:lnTo>
                  <a:pt x="18" y="644"/>
                </a:lnTo>
                <a:lnTo>
                  <a:pt x="22" y="634"/>
                </a:lnTo>
                <a:lnTo>
                  <a:pt x="22" y="626"/>
                </a:lnTo>
                <a:lnTo>
                  <a:pt x="22" y="618"/>
                </a:lnTo>
                <a:lnTo>
                  <a:pt x="18" y="610"/>
                </a:lnTo>
                <a:lnTo>
                  <a:pt x="18" y="610"/>
                </a:lnTo>
                <a:lnTo>
                  <a:pt x="16" y="602"/>
                </a:lnTo>
                <a:lnTo>
                  <a:pt x="18" y="594"/>
                </a:lnTo>
                <a:lnTo>
                  <a:pt x="22" y="584"/>
                </a:lnTo>
                <a:lnTo>
                  <a:pt x="22" y="584"/>
                </a:lnTo>
                <a:lnTo>
                  <a:pt x="52" y="528"/>
                </a:lnTo>
                <a:lnTo>
                  <a:pt x="52" y="528"/>
                </a:lnTo>
                <a:lnTo>
                  <a:pt x="56" y="518"/>
                </a:lnTo>
                <a:lnTo>
                  <a:pt x="56" y="512"/>
                </a:lnTo>
                <a:lnTo>
                  <a:pt x="56" y="508"/>
                </a:lnTo>
                <a:lnTo>
                  <a:pt x="56" y="508"/>
                </a:lnTo>
                <a:lnTo>
                  <a:pt x="56" y="502"/>
                </a:lnTo>
                <a:lnTo>
                  <a:pt x="56" y="496"/>
                </a:lnTo>
                <a:lnTo>
                  <a:pt x="60" y="482"/>
                </a:lnTo>
                <a:lnTo>
                  <a:pt x="68" y="460"/>
                </a:lnTo>
                <a:lnTo>
                  <a:pt x="68" y="460"/>
                </a:lnTo>
                <a:lnTo>
                  <a:pt x="76" y="448"/>
                </a:lnTo>
                <a:lnTo>
                  <a:pt x="80" y="438"/>
                </a:lnTo>
                <a:lnTo>
                  <a:pt x="80" y="426"/>
                </a:lnTo>
                <a:lnTo>
                  <a:pt x="80" y="426"/>
                </a:lnTo>
                <a:lnTo>
                  <a:pt x="82" y="416"/>
                </a:lnTo>
                <a:lnTo>
                  <a:pt x="86" y="410"/>
                </a:lnTo>
                <a:lnTo>
                  <a:pt x="96" y="400"/>
                </a:lnTo>
                <a:lnTo>
                  <a:pt x="96" y="400"/>
                </a:lnTo>
                <a:lnTo>
                  <a:pt x="102" y="390"/>
                </a:lnTo>
                <a:lnTo>
                  <a:pt x="106" y="380"/>
                </a:lnTo>
                <a:lnTo>
                  <a:pt x="106" y="380"/>
                </a:lnTo>
                <a:lnTo>
                  <a:pt x="110" y="374"/>
                </a:lnTo>
                <a:lnTo>
                  <a:pt x="116" y="370"/>
                </a:lnTo>
                <a:lnTo>
                  <a:pt x="130" y="362"/>
                </a:lnTo>
                <a:lnTo>
                  <a:pt x="130" y="362"/>
                </a:lnTo>
                <a:lnTo>
                  <a:pt x="136" y="358"/>
                </a:lnTo>
                <a:lnTo>
                  <a:pt x="140" y="352"/>
                </a:lnTo>
                <a:lnTo>
                  <a:pt x="144" y="346"/>
                </a:lnTo>
                <a:lnTo>
                  <a:pt x="144" y="342"/>
                </a:lnTo>
                <a:lnTo>
                  <a:pt x="144" y="342"/>
                </a:lnTo>
                <a:lnTo>
                  <a:pt x="146" y="336"/>
                </a:lnTo>
                <a:lnTo>
                  <a:pt x="150" y="330"/>
                </a:lnTo>
                <a:lnTo>
                  <a:pt x="156" y="318"/>
                </a:lnTo>
                <a:lnTo>
                  <a:pt x="156" y="318"/>
                </a:lnTo>
                <a:lnTo>
                  <a:pt x="176" y="298"/>
                </a:lnTo>
                <a:lnTo>
                  <a:pt x="176" y="298"/>
                </a:lnTo>
                <a:lnTo>
                  <a:pt x="192" y="274"/>
                </a:lnTo>
                <a:lnTo>
                  <a:pt x="208" y="250"/>
                </a:lnTo>
                <a:lnTo>
                  <a:pt x="208" y="250"/>
                </a:lnTo>
                <a:lnTo>
                  <a:pt x="216" y="238"/>
                </a:lnTo>
                <a:lnTo>
                  <a:pt x="218" y="226"/>
                </a:lnTo>
                <a:lnTo>
                  <a:pt x="218" y="226"/>
                </a:lnTo>
                <a:lnTo>
                  <a:pt x="220" y="218"/>
                </a:lnTo>
                <a:lnTo>
                  <a:pt x="222" y="210"/>
                </a:lnTo>
                <a:lnTo>
                  <a:pt x="234" y="194"/>
                </a:lnTo>
                <a:lnTo>
                  <a:pt x="234" y="194"/>
                </a:lnTo>
                <a:lnTo>
                  <a:pt x="240" y="186"/>
                </a:lnTo>
                <a:lnTo>
                  <a:pt x="242" y="180"/>
                </a:lnTo>
                <a:lnTo>
                  <a:pt x="242" y="170"/>
                </a:lnTo>
                <a:lnTo>
                  <a:pt x="242" y="170"/>
                </a:lnTo>
                <a:lnTo>
                  <a:pt x="242" y="158"/>
                </a:lnTo>
                <a:lnTo>
                  <a:pt x="246" y="144"/>
                </a:lnTo>
                <a:lnTo>
                  <a:pt x="246" y="144"/>
                </a:lnTo>
                <a:lnTo>
                  <a:pt x="246" y="138"/>
                </a:lnTo>
                <a:lnTo>
                  <a:pt x="244" y="134"/>
                </a:lnTo>
                <a:lnTo>
                  <a:pt x="238" y="126"/>
                </a:lnTo>
                <a:lnTo>
                  <a:pt x="238" y="126"/>
                </a:lnTo>
                <a:lnTo>
                  <a:pt x="234" y="118"/>
                </a:lnTo>
                <a:lnTo>
                  <a:pt x="232" y="108"/>
                </a:lnTo>
                <a:lnTo>
                  <a:pt x="232" y="108"/>
                </a:lnTo>
                <a:lnTo>
                  <a:pt x="228" y="54"/>
                </a:lnTo>
                <a:lnTo>
                  <a:pt x="262" y="64"/>
                </a:lnTo>
                <a:lnTo>
                  <a:pt x="270" y="82"/>
                </a:lnTo>
                <a:lnTo>
                  <a:pt x="284" y="80"/>
                </a:lnTo>
                <a:lnTo>
                  <a:pt x="284" y="68"/>
                </a:lnTo>
                <a:lnTo>
                  <a:pt x="278" y="50"/>
                </a:lnTo>
                <a:lnTo>
                  <a:pt x="292" y="44"/>
                </a:lnTo>
                <a:lnTo>
                  <a:pt x="302" y="68"/>
                </a:lnTo>
                <a:lnTo>
                  <a:pt x="332" y="78"/>
                </a:lnTo>
                <a:lnTo>
                  <a:pt x="330" y="94"/>
                </a:lnTo>
                <a:lnTo>
                  <a:pt x="320" y="94"/>
                </a:lnTo>
                <a:lnTo>
                  <a:pt x="310" y="122"/>
                </a:lnTo>
                <a:lnTo>
                  <a:pt x="320" y="130"/>
                </a:lnTo>
                <a:lnTo>
                  <a:pt x="330" y="114"/>
                </a:lnTo>
                <a:lnTo>
                  <a:pt x="342" y="114"/>
                </a:lnTo>
                <a:lnTo>
                  <a:pt x="348" y="98"/>
                </a:lnTo>
                <a:lnTo>
                  <a:pt x="346" y="82"/>
                </a:lnTo>
                <a:lnTo>
                  <a:pt x="358" y="80"/>
                </a:lnTo>
                <a:lnTo>
                  <a:pt x="364" y="92"/>
                </a:lnTo>
                <a:lnTo>
                  <a:pt x="378" y="88"/>
                </a:lnTo>
                <a:lnTo>
                  <a:pt x="378" y="66"/>
                </a:lnTo>
                <a:lnTo>
                  <a:pt x="396" y="74"/>
                </a:lnTo>
                <a:lnTo>
                  <a:pt x="420" y="68"/>
                </a:lnTo>
                <a:lnTo>
                  <a:pt x="430" y="48"/>
                </a:lnTo>
                <a:lnTo>
                  <a:pt x="450" y="46"/>
                </a:lnTo>
                <a:lnTo>
                  <a:pt x="448" y="20"/>
                </a:lnTo>
                <a:lnTo>
                  <a:pt x="440" y="18"/>
                </a:lnTo>
                <a:lnTo>
                  <a:pt x="444" y="6"/>
                </a:lnTo>
                <a:lnTo>
                  <a:pt x="470" y="8"/>
                </a:lnTo>
                <a:lnTo>
                  <a:pt x="478" y="18"/>
                </a:lnTo>
                <a:lnTo>
                  <a:pt x="490" y="16"/>
                </a:lnTo>
                <a:lnTo>
                  <a:pt x="498" y="0"/>
                </a:lnTo>
                <a:lnTo>
                  <a:pt x="506" y="0"/>
                </a:lnTo>
                <a:lnTo>
                  <a:pt x="506" y="32"/>
                </a:lnTo>
                <a:lnTo>
                  <a:pt x="516" y="32"/>
                </a:lnTo>
                <a:lnTo>
                  <a:pt x="516" y="24"/>
                </a:lnTo>
                <a:lnTo>
                  <a:pt x="532" y="22"/>
                </a:lnTo>
                <a:lnTo>
                  <a:pt x="536" y="32"/>
                </a:lnTo>
                <a:lnTo>
                  <a:pt x="546" y="32"/>
                </a:lnTo>
                <a:lnTo>
                  <a:pt x="548" y="20"/>
                </a:lnTo>
                <a:lnTo>
                  <a:pt x="562" y="20"/>
                </a:lnTo>
                <a:lnTo>
                  <a:pt x="566" y="46"/>
                </a:lnTo>
                <a:lnTo>
                  <a:pt x="558" y="68"/>
                </a:lnTo>
                <a:lnTo>
                  <a:pt x="564" y="72"/>
                </a:lnTo>
                <a:lnTo>
                  <a:pt x="576" y="64"/>
                </a:lnTo>
                <a:lnTo>
                  <a:pt x="582" y="68"/>
                </a:lnTo>
                <a:lnTo>
                  <a:pt x="582" y="88"/>
                </a:lnTo>
                <a:lnTo>
                  <a:pt x="592" y="94"/>
                </a:lnTo>
                <a:lnTo>
                  <a:pt x="606" y="88"/>
                </a:lnTo>
                <a:lnTo>
                  <a:pt x="606" y="78"/>
                </a:lnTo>
                <a:lnTo>
                  <a:pt x="622" y="68"/>
                </a:lnTo>
                <a:lnTo>
                  <a:pt x="634" y="78"/>
                </a:lnTo>
                <a:lnTo>
                  <a:pt x="634" y="108"/>
                </a:lnTo>
                <a:lnTo>
                  <a:pt x="642" y="130"/>
                </a:lnTo>
                <a:lnTo>
                  <a:pt x="632" y="140"/>
                </a:lnTo>
                <a:lnTo>
                  <a:pt x="642" y="160"/>
                </a:lnTo>
                <a:lnTo>
                  <a:pt x="636" y="174"/>
                </a:lnTo>
                <a:lnTo>
                  <a:pt x="640" y="200"/>
                </a:lnTo>
                <a:lnTo>
                  <a:pt x="664" y="220"/>
                </a:lnTo>
                <a:lnTo>
                  <a:pt x="662" y="232"/>
                </a:lnTo>
                <a:lnTo>
                  <a:pt x="674" y="266"/>
                </a:lnTo>
                <a:lnTo>
                  <a:pt x="708" y="286"/>
                </a:lnTo>
                <a:lnTo>
                  <a:pt x="710" y="326"/>
                </a:lnTo>
                <a:lnTo>
                  <a:pt x="708" y="348"/>
                </a:lnTo>
                <a:lnTo>
                  <a:pt x="724" y="360"/>
                </a:lnTo>
                <a:lnTo>
                  <a:pt x="726" y="380"/>
                </a:lnTo>
                <a:lnTo>
                  <a:pt x="712" y="390"/>
                </a:lnTo>
                <a:lnTo>
                  <a:pt x="706" y="378"/>
                </a:lnTo>
                <a:lnTo>
                  <a:pt x="696" y="380"/>
                </a:lnTo>
                <a:lnTo>
                  <a:pt x="694" y="390"/>
                </a:lnTo>
                <a:lnTo>
                  <a:pt x="684" y="388"/>
                </a:lnTo>
                <a:lnTo>
                  <a:pt x="682" y="380"/>
                </a:lnTo>
                <a:lnTo>
                  <a:pt x="664" y="376"/>
                </a:lnTo>
                <a:lnTo>
                  <a:pt x="656" y="386"/>
                </a:lnTo>
                <a:lnTo>
                  <a:pt x="672" y="428"/>
                </a:lnTo>
                <a:lnTo>
                  <a:pt x="662" y="430"/>
                </a:lnTo>
                <a:lnTo>
                  <a:pt x="666" y="440"/>
                </a:lnTo>
                <a:lnTo>
                  <a:pt x="640" y="452"/>
                </a:lnTo>
                <a:lnTo>
                  <a:pt x="634" y="446"/>
                </a:lnTo>
                <a:lnTo>
                  <a:pt x="616" y="458"/>
                </a:lnTo>
                <a:lnTo>
                  <a:pt x="614" y="472"/>
                </a:lnTo>
                <a:lnTo>
                  <a:pt x="586" y="488"/>
                </a:lnTo>
                <a:lnTo>
                  <a:pt x="596" y="510"/>
                </a:lnTo>
                <a:lnTo>
                  <a:pt x="604" y="510"/>
                </a:lnTo>
                <a:lnTo>
                  <a:pt x="618" y="538"/>
                </a:lnTo>
                <a:lnTo>
                  <a:pt x="616" y="576"/>
                </a:lnTo>
                <a:lnTo>
                  <a:pt x="628" y="586"/>
                </a:lnTo>
                <a:lnTo>
                  <a:pt x="636" y="632"/>
                </a:lnTo>
                <a:lnTo>
                  <a:pt x="626" y="650"/>
                </a:lnTo>
                <a:lnTo>
                  <a:pt x="626" y="668"/>
                </a:lnTo>
                <a:lnTo>
                  <a:pt x="636" y="674"/>
                </a:lnTo>
                <a:lnTo>
                  <a:pt x="636" y="684"/>
                </a:lnTo>
                <a:lnTo>
                  <a:pt x="624" y="694"/>
                </a:lnTo>
                <a:lnTo>
                  <a:pt x="624" y="706"/>
                </a:lnTo>
                <a:lnTo>
                  <a:pt x="634" y="710"/>
                </a:lnTo>
                <a:lnTo>
                  <a:pt x="638" y="724"/>
                </a:lnTo>
                <a:lnTo>
                  <a:pt x="620" y="748"/>
                </a:lnTo>
                <a:lnTo>
                  <a:pt x="610" y="730"/>
                </a:lnTo>
                <a:lnTo>
                  <a:pt x="594" y="730"/>
                </a:lnTo>
                <a:lnTo>
                  <a:pt x="584" y="742"/>
                </a:lnTo>
                <a:lnTo>
                  <a:pt x="562" y="734"/>
                </a:lnTo>
                <a:lnTo>
                  <a:pt x="556" y="746"/>
                </a:lnTo>
                <a:lnTo>
                  <a:pt x="530" y="758"/>
                </a:lnTo>
                <a:lnTo>
                  <a:pt x="518" y="754"/>
                </a:lnTo>
                <a:lnTo>
                  <a:pt x="500" y="774"/>
                </a:lnTo>
                <a:lnTo>
                  <a:pt x="498" y="774"/>
                </a:lnTo>
                <a:close/>
              </a:path>
            </a:pathLst>
          </a:custGeom>
          <a:solidFill>
            <a:srgbClr val="EDE6E1"/>
          </a:solidFill>
          <a:ln w="12700" cap="flat">
            <a:solidFill>
              <a:srgbClr val="D9CEC9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>
              <a:solidFill>
                <a:prstClr val="black"/>
              </a:solidFill>
              <a:latin typeface="EnBW DIN Pro"/>
            </a:endParaRP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01A1CAB7-BF4F-44E5-8BA5-62E1A038F59E}"/>
              </a:ext>
            </a:extLst>
          </p:cNvPr>
          <p:cNvSpPr txBox="1"/>
          <p:nvPr/>
        </p:nvSpPr>
        <p:spPr bwMode="gray">
          <a:xfrm>
            <a:off x="8710348" y="3387140"/>
            <a:ext cx="1154477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6"/>
              </a:buClr>
              <a:buSzPct val="140000"/>
            </a:pPr>
            <a:r>
              <a:rPr lang="de-DE" sz="1200">
                <a:ea typeface="DIN-Regular" panose="020B0500010101010101" pitchFamily="34" charset="0"/>
              </a:rPr>
              <a:t>Karlsruhe</a:t>
            </a: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3F755576-7A9A-4AEE-AB18-B7982A7F5B1E}"/>
              </a:ext>
            </a:extLst>
          </p:cNvPr>
          <p:cNvSpPr txBox="1"/>
          <p:nvPr/>
        </p:nvSpPr>
        <p:spPr bwMode="gray">
          <a:xfrm>
            <a:off x="9579362" y="3047836"/>
            <a:ext cx="1154477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6"/>
              </a:buClr>
              <a:buSzPct val="140000"/>
            </a:pPr>
            <a:r>
              <a:rPr lang="de-DE" sz="1200">
                <a:ea typeface="DIN-Regular" panose="020B0500010101010101" pitchFamily="34" charset="0"/>
              </a:rPr>
              <a:t>Heilbronn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C6581777-2568-4FA8-986C-2E119C523060}"/>
              </a:ext>
            </a:extLst>
          </p:cNvPr>
          <p:cNvSpPr txBox="1"/>
          <p:nvPr/>
        </p:nvSpPr>
        <p:spPr bwMode="gray">
          <a:xfrm>
            <a:off x="9310079" y="3991515"/>
            <a:ext cx="1154477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6"/>
              </a:buClr>
              <a:buSzPct val="140000"/>
            </a:pPr>
            <a:r>
              <a:rPr lang="de-DE" sz="1200">
                <a:ea typeface="DIN-Regular" panose="020B0500010101010101" pitchFamily="34" charset="0"/>
              </a:rPr>
              <a:t>Böblingen</a:t>
            </a:r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4C7AC5C9-7699-4856-B1AC-9EE835DAD058}"/>
              </a:ext>
            </a:extLst>
          </p:cNvPr>
          <p:cNvSpPr txBox="1"/>
          <p:nvPr/>
        </p:nvSpPr>
        <p:spPr bwMode="gray">
          <a:xfrm>
            <a:off x="10305128" y="5136124"/>
            <a:ext cx="1154477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6"/>
              </a:buClr>
              <a:buSzPct val="140000"/>
            </a:pPr>
            <a:r>
              <a:rPr lang="de-DE" sz="1200">
                <a:ea typeface="DIN-Regular" panose="020B0500010101010101" pitchFamily="34" charset="0"/>
              </a:rPr>
              <a:t>Biberach</a:t>
            </a:r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BD4A894B-A4A2-4983-9392-396B2CA76EE0}"/>
              </a:ext>
            </a:extLst>
          </p:cNvPr>
          <p:cNvSpPr txBox="1"/>
          <p:nvPr/>
        </p:nvSpPr>
        <p:spPr bwMode="gray">
          <a:xfrm>
            <a:off x="9802319" y="3736545"/>
            <a:ext cx="1154477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6"/>
              </a:buClr>
              <a:buSzPct val="140000"/>
            </a:pPr>
            <a:r>
              <a:rPr lang="de-DE" sz="1200">
                <a:ea typeface="DIN-Regular" panose="020B0500010101010101" pitchFamily="34" charset="0"/>
              </a:rPr>
              <a:t>Stuttgart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8D31A168-E5B6-4AB5-9A26-5BF30BAF4B9E}"/>
              </a:ext>
            </a:extLst>
          </p:cNvPr>
          <p:cNvSpPr txBox="1"/>
          <p:nvPr/>
        </p:nvSpPr>
        <p:spPr bwMode="gray">
          <a:xfrm>
            <a:off x="11074402" y="3228102"/>
            <a:ext cx="1154477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6"/>
              </a:buClr>
              <a:buSzPct val="140000"/>
            </a:pPr>
            <a:r>
              <a:rPr lang="de-DE" sz="1200">
                <a:ea typeface="DIN-Regular" panose="020B0500010101010101" pitchFamily="34" charset="0"/>
                <a:cs typeface="EnBW DIN Pro Medium" panose="020B0604020101020102" pitchFamily="34" charset="0"/>
              </a:rPr>
              <a:t>Ellwangen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16E82B9B-6F8A-46CE-AB15-74236A7F19B4}"/>
              </a:ext>
            </a:extLst>
          </p:cNvPr>
          <p:cNvSpPr txBox="1"/>
          <p:nvPr/>
        </p:nvSpPr>
        <p:spPr bwMode="gray">
          <a:xfrm>
            <a:off x="10914083" y="3467975"/>
            <a:ext cx="1154477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6"/>
              </a:buClr>
              <a:buSzPct val="140000"/>
            </a:pPr>
            <a:r>
              <a:rPr lang="de-DE" sz="1200">
                <a:ea typeface="DIN-Regular" panose="020B0500010101010101" pitchFamily="34" charset="0"/>
              </a:rPr>
              <a:t>Hüttlingen</a:t>
            </a:r>
          </a:p>
        </p:txBody>
      </p:sp>
      <p:sp>
        <p:nvSpPr>
          <p:cNvPr id="29" name="Textfeld 5">
            <a:extLst>
              <a:ext uri="{FF2B5EF4-FFF2-40B4-BE49-F238E27FC236}">
                <a16:creationId xmlns:a16="http://schemas.microsoft.com/office/drawing/2014/main" id="{E39469C0-F277-4128-A4ED-C00FB38425DC}"/>
              </a:ext>
            </a:extLst>
          </p:cNvPr>
          <p:cNvSpPr txBox="1"/>
          <p:nvPr/>
        </p:nvSpPr>
        <p:spPr bwMode="gray">
          <a:xfrm>
            <a:off x="407988" y="2204864"/>
            <a:ext cx="2952000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6"/>
              </a:buClr>
              <a:buSzPct val="140000"/>
            </a:pPr>
            <a:r>
              <a:rPr lang="de-DE" sz="3600">
                <a:solidFill>
                  <a:schemeClr val="tx2"/>
                </a:solidFill>
                <a:latin typeface="+mj-lt"/>
                <a:ea typeface="DIN-Regular" panose="020B0500010101010101" pitchFamily="34" charset="0"/>
              </a:rPr>
              <a:t>April 2014</a:t>
            </a:r>
          </a:p>
        </p:txBody>
      </p:sp>
      <p:sp>
        <p:nvSpPr>
          <p:cNvPr id="35" name="Rectangle 64">
            <a:extLst>
              <a:ext uri="{FF2B5EF4-FFF2-40B4-BE49-F238E27FC236}">
                <a16:creationId xmlns:a16="http://schemas.microsoft.com/office/drawing/2014/main" id="{8A8BA9BE-2BF6-41BC-9A74-690E59F0B7BF}"/>
              </a:ext>
            </a:extLst>
          </p:cNvPr>
          <p:cNvSpPr/>
          <p:nvPr/>
        </p:nvSpPr>
        <p:spPr bwMode="gray">
          <a:xfrm>
            <a:off x="4295800" y="2204864"/>
            <a:ext cx="2952000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210894">
              <a:spcBef>
                <a:spcPts val="400"/>
              </a:spcBef>
              <a:buClr>
                <a:srgbClr val="FF9900"/>
              </a:buClr>
              <a:buSzPct val="100000"/>
              <a:defRPr/>
            </a:pPr>
            <a:r>
              <a:rPr lang="de-DE" sz="1600"/>
              <a:t>rund</a:t>
            </a:r>
            <a:r>
              <a:rPr lang="de-DE" sz="2265">
                <a:cs typeface="EnBW DIN Pro" panose="020B0504020101020102" pitchFamily="34" charset="0"/>
              </a:rPr>
              <a:t> </a:t>
            </a:r>
            <a:r>
              <a:rPr lang="de-DE" sz="3600">
                <a:solidFill>
                  <a:schemeClr val="tx2"/>
                </a:solidFill>
                <a:latin typeface="+mj-lt"/>
                <a:ea typeface="DIN-Regular" panose="020B0500010101010101" pitchFamily="34" charset="0"/>
              </a:rPr>
              <a:t>87.000</a:t>
            </a:r>
          </a:p>
        </p:txBody>
      </p:sp>
      <p:sp>
        <p:nvSpPr>
          <p:cNvPr id="27" name="Rectangle 14">
            <a:extLst>
              <a:ext uri="{FF2B5EF4-FFF2-40B4-BE49-F238E27FC236}">
                <a16:creationId xmlns:a16="http://schemas.microsoft.com/office/drawing/2014/main" id="{2BC74FBF-755B-4C62-B471-1E97F083E6F3}"/>
              </a:ext>
            </a:extLst>
          </p:cNvPr>
          <p:cNvSpPr/>
          <p:nvPr/>
        </p:nvSpPr>
        <p:spPr bwMode="gray">
          <a:xfrm>
            <a:off x="407988" y="2962719"/>
            <a:ext cx="29520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210894">
              <a:spcBef>
                <a:spcPts val="400"/>
              </a:spcBef>
              <a:buClr>
                <a:srgbClr val="FF9900"/>
              </a:buClr>
              <a:buSzPct val="100000"/>
              <a:defRPr/>
            </a:pPr>
            <a:r>
              <a:rPr lang="de-DE" sz="1400">
                <a:cs typeface="EnBW DIN Pro" panose="020B0504020101020102" pitchFamily="34" charset="0"/>
              </a:rPr>
              <a:t>Wir bündeln alle</a:t>
            </a:r>
            <a:r>
              <a:rPr lang="de-DE" sz="1400" kern="0">
                <a:cs typeface="EnBW DIN Pro Light" panose="020B0504020101010102" pitchFamily="34" charset="0"/>
              </a:rPr>
              <a:t> </a:t>
            </a:r>
            <a:r>
              <a:rPr lang="de-DE" sz="1400">
                <a:cs typeface="EnBW DIN Pro" panose="020B0504020101020102" pitchFamily="34" charset="0"/>
              </a:rPr>
              <a:t>EnBW-Telekommunikationsaktivitäten.</a:t>
            </a:r>
          </a:p>
        </p:txBody>
      </p:sp>
      <p:sp>
        <p:nvSpPr>
          <p:cNvPr id="38" name="Rectangle 14">
            <a:extLst>
              <a:ext uri="{FF2B5EF4-FFF2-40B4-BE49-F238E27FC236}">
                <a16:creationId xmlns:a16="http://schemas.microsoft.com/office/drawing/2014/main" id="{66BDD52D-D145-46FE-90CF-0D392F1D29C9}"/>
              </a:ext>
            </a:extLst>
          </p:cNvPr>
          <p:cNvSpPr/>
          <p:nvPr/>
        </p:nvSpPr>
        <p:spPr bwMode="gray">
          <a:xfrm>
            <a:off x="4295800" y="2962719"/>
            <a:ext cx="2952000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210894">
              <a:spcBef>
                <a:spcPts val="400"/>
              </a:spcBef>
              <a:buClr>
                <a:srgbClr val="FF9900"/>
              </a:buClr>
              <a:buSzPct val="100000"/>
              <a:defRPr/>
            </a:pPr>
            <a:r>
              <a:rPr lang="de-DE" sz="1400">
                <a:cs typeface="EnBW DIN Pro" panose="020B0504020101020102" pitchFamily="34" charset="0"/>
              </a:rPr>
              <a:t>Uns vertrauen Industrie- und Geschäftskunden ebenso wie Privatkunden und die EnBW.</a:t>
            </a:r>
          </a:p>
        </p:txBody>
      </p:sp>
      <p:sp>
        <p:nvSpPr>
          <p:cNvPr id="67" name="Textfeld 5">
            <a:extLst>
              <a:ext uri="{FF2B5EF4-FFF2-40B4-BE49-F238E27FC236}">
                <a16:creationId xmlns:a16="http://schemas.microsoft.com/office/drawing/2014/main" id="{9C168864-EA78-B64D-8B73-2788CB0534CA}"/>
              </a:ext>
            </a:extLst>
          </p:cNvPr>
          <p:cNvSpPr txBox="1"/>
          <p:nvPr/>
        </p:nvSpPr>
        <p:spPr bwMode="gray">
          <a:xfrm>
            <a:off x="407988" y="4725144"/>
            <a:ext cx="2952000" cy="5539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6"/>
              </a:buClr>
              <a:buSzPct val="140000"/>
            </a:pPr>
            <a:r>
              <a:rPr lang="de-DE" sz="3600">
                <a:solidFill>
                  <a:schemeClr val="tx2"/>
                </a:solidFill>
                <a:latin typeface="+mj-lt"/>
                <a:ea typeface="DIN-Regular" panose="020B0500010101010101" pitchFamily="34" charset="0"/>
              </a:rPr>
              <a:t>21.700 km</a:t>
            </a:r>
          </a:p>
        </p:txBody>
      </p:sp>
      <p:sp>
        <p:nvSpPr>
          <p:cNvPr id="68" name="Rectangle 64">
            <a:extLst>
              <a:ext uri="{FF2B5EF4-FFF2-40B4-BE49-F238E27FC236}">
                <a16:creationId xmlns:a16="http://schemas.microsoft.com/office/drawing/2014/main" id="{8063771C-9241-2548-AFD5-78E697D7DA45}"/>
              </a:ext>
            </a:extLst>
          </p:cNvPr>
          <p:cNvSpPr/>
          <p:nvPr/>
        </p:nvSpPr>
        <p:spPr bwMode="gray">
          <a:xfrm>
            <a:off x="4295800" y="4725144"/>
            <a:ext cx="2952000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defTabSz="1210894">
              <a:spcBef>
                <a:spcPts val="400"/>
              </a:spcBef>
              <a:buClr>
                <a:srgbClr val="FF9900"/>
              </a:buClr>
              <a:buSzPct val="100000"/>
              <a:defRPr/>
            </a:pPr>
            <a:r>
              <a:rPr lang="de-DE" sz="1600"/>
              <a:t>über </a:t>
            </a:r>
            <a:r>
              <a:rPr lang="de-DE" sz="3600">
                <a:solidFill>
                  <a:schemeClr val="tx2"/>
                </a:solidFill>
                <a:latin typeface="+mj-lt"/>
                <a:ea typeface="DIN-Regular" panose="020B0500010101010101" pitchFamily="34" charset="0"/>
              </a:rPr>
              <a:t>420</a:t>
            </a:r>
          </a:p>
        </p:txBody>
      </p:sp>
      <p:sp>
        <p:nvSpPr>
          <p:cNvPr id="69" name="Rectangle 14">
            <a:extLst>
              <a:ext uri="{FF2B5EF4-FFF2-40B4-BE49-F238E27FC236}">
                <a16:creationId xmlns:a16="http://schemas.microsoft.com/office/drawing/2014/main" id="{601DDD03-8C7A-6643-85F8-6B1E5F07ACD9}"/>
              </a:ext>
            </a:extLst>
          </p:cNvPr>
          <p:cNvSpPr/>
          <p:nvPr/>
        </p:nvSpPr>
        <p:spPr bwMode="gray">
          <a:xfrm>
            <a:off x="407988" y="5410991"/>
            <a:ext cx="29520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210894">
              <a:spcBef>
                <a:spcPts val="400"/>
              </a:spcBef>
              <a:buClr>
                <a:srgbClr val="FF9900"/>
              </a:buClr>
              <a:buSzPct val="100000"/>
              <a:defRPr/>
            </a:pPr>
            <a:r>
              <a:rPr lang="de-DE" sz="1400">
                <a:cs typeface="EnBW DIN Pro" panose="020B0504020101020102" pitchFamily="34" charset="0"/>
              </a:rPr>
              <a:t>Unser Netz ist eines der größten und modernsten in Baden-Württemberg.</a:t>
            </a:r>
            <a:endParaRPr lang="de-DE" sz="1400" kern="0">
              <a:cs typeface="EnBW DIN Pro Light" panose="020B0504020101010102" pitchFamily="34" charset="0"/>
            </a:endParaRPr>
          </a:p>
        </p:txBody>
      </p:sp>
      <p:sp>
        <p:nvSpPr>
          <p:cNvPr id="70" name="Rectangle 14">
            <a:extLst>
              <a:ext uri="{FF2B5EF4-FFF2-40B4-BE49-F238E27FC236}">
                <a16:creationId xmlns:a16="http://schemas.microsoft.com/office/drawing/2014/main" id="{ECE3DB41-6930-1848-8717-FADA7CF147E2}"/>
              </a:ext>
            </a:extLst>
          </p:cNvPr>
          <p:cNvSpPr/>
          <p:nvPr/>
        </p:nvSpPr>
        <p:spPr bwMode="gray">
          <a:xfrm>
            <a:off x="4295800" y="5410991"/>
            <a:ext cx="2952000" cy="4821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210894">
              <a:spcBef>
                <a:spcPts val="400"/>
              </a:spcBef>
              <a:buClr>
                <a:srgbClr val="FF9900"/>
              </a:buClr>
              <a:buSzPct val="100000"/>
              <a:defRPr/>
            </a:pPr>
            <a:r>
              <a:rPr lang="de-DE" sz="1400">
                <a:cs typeface="EnBW DIN Pro" panose="020B0504020101020102" pitchFamily="34" charset="0"/>
              </a:rPr>
              <a:t>Wir haben ein starkes Team.</a:t>
            </a:r>
            <a:endParaRPr lang="de-DE" sz="1400" kern="0">
              <a:cs typeface="EnBW DIN Pro Light" panose="020B0504020101010102" pitchFamily="34" charset="0"/>
            </a:endParaRPr>
          </a:p>
          <a:p>
            <a:pPr defTabSz="1210894">
              <a:spcBef>
                <a:spcPts val="400"/>
              </a:spcBef>
              <a:buClr>
                <a:srgbClr val="FF9900"/>
              </a:buClr>
              <a:buSzPct val="100000"/>
              <a:defRPr/>
            </a:pPr>
            <a:r>
              <a:rPr lang="de-DE" sz="1400">
                <a:cs typeface="EnBW DIN Pro" panose="020B0504020101020102" pitchFamily="34" charset="0"/>
              </a:rPr>
              <a:t> </a:t>
            </a:r>
          </a:p>
        </p:txBody>
      </p:sp>
      <p:cxnSp>
        <p:nvCxnSpPr>
          <p:cNvPr id="75" name="Gerader Verbinder 74">
            <a:extLst>
              <a:ext uri="{FF2B5EF4-FFF2-40B4-BE49-F238E27FC236}">
                <a16:creationId xmlns:a16="http://schemas.microsoft.com/office/drawing/2014/main" id="{1E0A2ABE-9EA6-5F18-5129-D8782A84281E}"/>
              </a:ext>
            </a:extLst>
          </p:cNvPr>
          <p:cNvCxnSpPr>
            <a:cxnSpLocks/>
          </p:cNvCxnSpPr>
          <p:nvPr/>
        </p:nvCxnSpPr>
        <p:spPr>
          <a:xfrm>
            <a:off x="407988" y="4011179"/>
            <a:ext cx="2951162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r Verbinder 75">
            <a:extLst>
              <a:ext uri="{FF2B5EF4-FFF2-40B4-BE49-F238E27FC236}">
                <a16:creationId xmlns:a16="http://schemas.microsoft.com/office/drawing/2014/main" id="{3CD384B9-9E98-142E-0F84-0847A0A0386B}"/>
              </a:ext>
            </a:extLst>
          </p:cNvPr>
          <p:cNvCxnSpPr>
            <a:cxnSpLocks/>
          </p:cNvCxnSpPr>
          <p:nvPr/>
        </p:nvCxnSpPr>
        <p:spPr>
          <a:xfrm>
            <a:off x="3827475" y="1844675"/>
            <a:ext cx="0" cy="1803473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r Verbinder 76">
            <a:extLst>
              <a:ext uri="{FF2B5EF4-FFF2-40B4-BE49-F238E27FC236}">
                <a16:creationId xmlns:a16="http://schemas.microsoft.com/office/drawing/2014/main" id="{E021A526-BA31-5E09-A780-719C57DD814C}"/>
              </a:ext>
            </a:extLst>
          </p:cNvPr>
          <p:cNvCxnSpPr>
            <a:cxnSpLocks/>
          </p:cNvCxnSpPr>
          <p:nvPr/>
        </p:nvCxnSpPr>
        <p:spPr>
          <a:xfrm>
            <a:off x="3827475" y="4385224"/>
            <a:ext cx="0" cy="1888576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r Verbinder 77">
            <a:extLst>
              <a:ext uri="{FF2B5EF4-FFF2-40B4-BE49-F238E27FC236}">
                <a16:creationId xmlns:a16="http://schemas.microsoft.com/office/drawing/2014/main" id="{2E8A7ACA-29A3-C0A7-A12A-FE41254EF69A}"/>
              </a:ext>
            </a:extLst>
          </p:cNvPr>
          <p:cNvCxnSpPr>
            <a:cxnSpLocks/>
          </p:cNvCxnSpPr>
          <p:nvPr/>
        </p:nvCxnSpPr>
        <p:spPr>
          <a:xfrm>
            <a:off x="4295800" y="4011179"/>
            <a:ext cx="2952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Ellipse 84">
            <a:extLst>
              <a:ext uri="{FF2B5EF4-FFF2-40B4-BE49-F238E27FC236}">
                <a16:creationId xmlns:a16="http://schemas.microsoft.com/office/drawing/2014/main" id="{A9B6080B-2369-36E4-E8D2-54C44A21BAF1}"/>
              </a:ext>
            </a:extLst>
          </p:cNvPr>
          <p:cNvSpPr/>
          <p:nvPr/>
        </p:nvSpPr>
        <p:spPr bwMode="gray">
          <a:xfrm>
            <a:off x="8826731" y="3133834"/>
            <a:ext cx="216000" cy="216000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/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86" name="Ellipse 85">
            <a:extLst>
              <a:ext uri="{FF2B5EF4-FFF2-40B4-BE49-F238E27FC236}">
                <a16:creationId xmlns:a16="http://schemas.microsoft.com/office/drawing/2014/main" id="{82B6FEC8-9FB0-379F-BD83-05EF24DF6C5A}"/>
              </a:ext>
            </a:extLst>
          </p:cNvPr>
          <p:cNvSpPr/>
          <p:nvPr/>
        </p:nvSpPr>
        <p:spPr bwMode="gray">
          <a:xfrm>
            <a:off x="9703031" y="2809984"/>
            <a:ext cx="216000" cy="216000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/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89" name="Ellipse 88">
            <a:extLst>
              <a:ext uri="{FF2B5EF4-FFF2-40B4-BE49-F238E27FC236}">
                <a16:creationId xmlns:a16="http://schemas.microsoft.com/office/drawing/2014/main" id="{FF3A716B-04D1-C874-07BD-89365E0FAC94}"/>
              </a:ext>
            </a:extLst>
          </p:cNvPr>
          <p:cNvSpPr/>
          <p:nvPr/>
        </p:nvSpPr>
        <p:spPr bwMode="gray">
          <a:xfrm>
            <a:off x="9709381" y="3508484"/>
            <a:ext cx="216000" cy="216000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/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90" name="Ellipse 89">
            <a:extLst>
              <a:ext uri="{FF2B5EF4-FFF2-40B4-BE49-F238E27FC236}">
                <a16:creationId xmlns:a16="http://schemas.microsoft.com/office/drawing/2014/main" id="{CE6CD843-89A6-1BC3-3A28-AFD3249D2940}"/>
              </a:ext>
            </a:extLst>
          </p:cNvPr>
          <p:cNvSpPr/>
          <p:nvPr/>
        </p:nvSpPr>
        <p:spPr bwMode="gray">
          <a:xfrm>
            <a:off x="9474431" y="3743434"/>
            <a:ext cx="216000" cy="216000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/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91" name="Ellipse 90">
            <a:extLst>
              <a:ext uri="{FF2B5EF4-FFF2-40B4-BE49-F238E27FC236}">
                <a16:creationId xmlns:a16="http://schemas.microsoft.com/office/drawing/2014/main" id="{1A0C9049-5FD4-04FB-B912-2000210DD53C}"/>
              </a:ext>
            </a:extLst>
          </p:cNvPr>
          <p:cNvSpPr/>
          <p:nvPr/>
        </p:nvSpPr>
        <p:spPr bwMode="gray">
          <a:xfrm>
            <a:off x="10433281" y="4899134"/>
            <a:ext cx="216000" cy="216000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/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93" name="Ellipse 92">
            <a:extLst>
              <a:ext uri="{FF2B5EF4-FFF2-40B4-BE49-F238E27FC236}">
                <a16:creationId xmlns:a16="http://schemas.microsoft.com/office/drawing/2014/main" id="{D7014D99-1F08-C9A5-91A8-22A087B8BF0B}"/>
              </a:ext>
            </a:extLst>
          </p:cNvPr>
          <p:cNvSpPr/>
          <p:nvPr/>
        </p:nvSpPr>
        <p:spPr bwMode="gray">
          <a:xfrm>
            <a:off x="10852481" y="2895600"/>
            <a:ext cx="349250" cy="349250"/>
          </a:xfrm>
          <a:prstGeom prst="ellipse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/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94" name="Ellipse 93">
            <a:extLst>
              <a:ext uri="{FF2B5EF4-FFF2-40B4-BE49-F238E27FC236}">
                <a16:creationId xmlns:a16="http://schemas.microsoft.com/office/drawing/2014/main" id="{9943817A-3513-D17F-08D8-B0B2918DD47A}"/>
              </a:ext>
            </a:extLst>
          </p:cNvPr>
          <p:cNvSpPr/>
          <p:nvPr/>
        </p:nvSpPr>
        <p:spPr bwMode="gray">
          <a:xfrm>
            <a:off x="10795231" y="3241784"/>
            <a:ext cx="216000" cy="216000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/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99" name="Textfeld 98">
            <a:extLst>
              <a:ext uri="{FF2B5EF4-FFF2-40B4-BE49-F238E27FC236}">
                <a16:creationId xmlns:a16="http://schemas.microsoft.com/office/drawing/2014/main" id="{1517D1FC-7988-AF24-4F64-2C0DF9CB35CE}"/>
              </a:ext>
            </a:extLst>
          </p:cNvPr>
          <p:cNvSpPr txBox="1"/>
          <p:nvPr/>
        </p:nvSpPr>
        <p:spPr bwMode="gray">
          <a:xfrm>
            <a:off x="407987" y="6286500"/>
            <a:ext cx="11376025" cy="166688"/>
          </a:xfrm>
          <a:prstGeom prst="rect">
            <a:avLst/>
          </a:prstGeom>
          <a:noFill/>
        </p:spPr>
        <p:txBody>
          <a:bodyPr wrap="square" lIns="0" tIns="36000" rIns="0" bIns="0" anchor="b" anchorCtr="0">
            <a:noAutofit/>
          </a:bodyPr>
          <a:lstStyle/>
          <a:p>
            <a:pPr algn="r"/>
            <a:r>
              <a:rPr lang="de-DE" sz="1000" spc="10">
                <a:cs typeface="EnBW DIN Pro"/>
              </a:rPr>
              <a:t>Stand12/2022</a:t>
            </a: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0741EA90-C74E-CFC8-FF07-FEA702CBEF56}"/>
              </a:ext>
            </a:extLst>
          </p:cNvPr>
          <p:cNvSpPr txBox="1">
            <a:spLocks/>
          </p:cNvSpPr>
          <p:nvPr/>
        </p:nvSpPr>
        <p:spPr>
          <a:xfrm>
            <a:off x="6380554" y="986998"/>
            <a:ext cx="2446177" cy="467692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de-DE" b="0" kern="0">
                <a:solidFill>
                  <a:schemeClr val="tx1"/>
                </a:solidFill>
                <a:latin typeface="+mj-lt"/>
              </a:rPr>
              <a:t>Unsere Standorte</a:t>
            </a:r>
            <a:br>
              <a:rPr lang="de-DE" b="0" kern="0">
                <a:solidFill>
                  <a:schemeClr val="tx1"/>
                </a:solidFill>
                <a:latin typeface="+mn-lt"/>
              </a:rPr>
            </a:br>
            <a:r>
              <a:rPr lang="de-DE" b="0" kern="0">
                <a:solidFill>
                  <a:schemeClr val="tx1"/>
                </a:solidFill>
                <a:latin typeface="+mn-lt"/>
                <a:cs typeface="EnBW DIN Pro Light" panose="020B0504020101010102" pitchFamily="34" charset="0"/>
              </a:rPr>
              <a:t>Hauptsitz in Ellwangen</a:t>
            </a:r>
            <a:endParaRPr lang="de-DE" b="0" kern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Textfeld 29">
            <a:extLst>
              <a:ext uri="{FF2B5EF4-FFF2-40B4-BE49-F238E27FC236}">
                <a16:creationId xmlns:a16="http://schemas.microsoft.com/office/drawing/2014/main" id="{25C20572-3C98-3104-EEEC-D80396A260CA}"/>
              </a:ext>
            </a:extLst>
          </p:cNvPr>
          <p:cNvSpPr txBox="1"/>
          <p:nvPr/>
        </p:nvSpPr>
        <p:spPr bwMode="gray">
          <a:xfrm>
            <a:off x="407988" y="1844824"/>
            <a:ext cx="2952000" cy="467692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>
            <a:defPPr>
              <a:defRPr lang="de-DE"/>
            </a:defPPr>
            <a:lvl1pPr algn="ctr">
              <a:lnSpc>
                <a:spcPct val="90000"/>
              </a:lnSpc>
              <a:defRPr sz="80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</a:lstStyle>
          <a:p>
            <a:pPr algn="l" defTabSz="1210894">
              <a:lnSpc>
                <a:spcPct val="100000"/>
              </a:lnSpc>
            </a:pPr>
            <a:r>
              <a:rPr lang="de-DE" sz="1600" kern="0">
                <a:solidFill>
                  <a:schemeClr val="tx1"/>
                </a:solidFill>
                <a:latin typeface="+mj-lt"/>
                <a:cs typeface="EnBW DIN Pro"/>
                <a:sym typeface="EnBW DIN Pro"/>
              </a:rPr>
              <a:t>Gründung</a:t>
            </a:r>
          </a:p>
        </p:txBody>
      </p:sp>
      <p:sp>
        <p:nvSpPr>
          <p:cNvPr id="8" name="Textfeld 29">
            <a:extLst>
              <a:ext uri="{FF2B5EF4-FFF2-40B4-BE49-F238E27FC236}">
                <a16:creationId xmlns:a16="http://schemas.microsoft.com/office/drawing/2014/main" id="{035690F4-B864-4BF0-A4CD-D48863CD9309}"/>
              </a:ext>
            </a:extLst>
          </p:cNvPr>
          <p:cNvSpPr txBox="1"/>
          <p:nvPr/>
        </p:nvSpPr>
        <p:spPr bwMode="gray">
          <a:xfrm>
            <a:off x="4295800" y="1844824"/>
            <a:ext cx="2952000" cy="467692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>
            <a:defPPr>
              <a:defRPr lang="de-DE"/>
            </a:defPPr>
            <a:lvl1pPr algn="ctr">
              <a:lnSpc>
                <a:spcPct val="90000"/>
              </a:lnSpc>
              <a:defRPr sz="80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</a:lstStyle>
          <a:p>
            <a:pPr algn="l" defTabSz="1210894">
              <a:lnSpc>
                <a:spcPct val="100000"/>
              </a:lnSpc>
            </a:pPr>
            <a:r>
              <a:rPr lang="de-DE" sz="1600" kern="0">
                <a:solidFill>
                  <a:schemeClr val="tx1"/>
                </a:solidFill>
                <a:latin typeface="+mj-lt"/>
                <a:cs typeface="EnBW DIN Pro"/>
                <a:sym typeface="EnBW DIN Pro"/>
              </a:rPr>
              <a:t>Kunden insgesamt</a:t>
            </a:r>
          </a:p>
        </p:txBody>
      </p:sp>
      <p:sp>
        <p:nvSpPr>
          <p:cNvPr id="9" name="Textfeld 29">
            <a:extLst>
              <a:ext uri="{FF2B5EF4-FFF2-40B4-BE49-F238E27FC236}">
                <a16:creationId xmlns:a16="http://schemas.microsoft.com/office/drawing/2014/main" id="{F48EDB0F-64DA-102B-2E49-C3D66FF8F726}"/>
              </a:ext>
            </a:extLst>
          </p:cNvPr>
          <p:cNvSpPr txBox="1"/>
          <p:nvPr/>
        </p:nvSpPr>
        <p:spPr bwMode="gray">
          <a:xfrm>
            <a:off x="407988" y="4389285"/>
            <a:ext cx="2952000" cy="4798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>
            <a:defPPr>
              <a:defRPr lang="de-DE"/>
            </a:defPPr>
            <a:lvl1pPr algn="ctr">
              <a:lnSpc>
                <a:spcPct val="90000"/>
              </a:lnSpc>
              <a:defRPr sz="80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</a:lstStyle>
          <a:p>
            <a:pPr algn="l" defTabSz="1210894"/>
            <a:r>
              <a:rPr lang="de-DE" sz="1600" kern="0">
                <a:solidFill>
                  <a:schemeClr val="tx1"/>
                </a:solidFill>
                <a:latin typeface="+mj-lt"/>
                <a:cs typeface="EnBW DIN Pro"/>
                <a:sym typeface="EnBW DIN Pro"/>
              </a:rPr>
              <a:t>Backbone-Netze</a:t>
            </a:r>
          </a:p>
        </p:txBody>
      </p:sp>
      <p:sp>
        <p:nvSpPr>
          <p:cNvPr id="10" name="Textfeld 29">
            <a:extLst>
              <a:ext uri="{FF2B5EF4-FFF2-40B4-BE49-F238E27FC236}">
                <a16:creationId xmlns:a16="http://schemas.microsoft.com/office/drawing/2014/main" id="{9AEDFDB7-FAAD-47D3-FC8B-9288D4C8ACF4}"/>
              </a:ext>
            </a:extLst>
          </p:cNvPr>
          <p:cNvSpPr txBox="1"/>
          <p:nvPr/>
        </p:nvSpPr>
        <p:spPr bwMode="gray">
          <a:xfrm>
            <a:off x="4295800" y="4389285"/>
            <a:ext cx="2952000" cy="479875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 anchor="t" anchorCtr="0">
            <a:noAutofit/>
          </a:bodyPr>
          <a:lstStyle>
            <a:defPPr>
              <a:defRPr lang="de-DE"/>
            </a:defPPr>
            <a:lvl1pPr algn="ctr">
              <a:lnSpc>
                <a:spcPct val="90000"/>
              </a:lnSpc>
              <a:defRPr sz="800">
                <a:solidFill>
                  <a:schemeClr val="bg1"/>
                </a:solidFill>
                <a:latin typeface="EnBW DIN Pro" panose="020B0504020101020102" pitchFamily="34" charset="0"/>
                <a:cs typeface="EnBW DIN Pro" panose="020B0504020101020102" pitchFamily="34" charset="0"/>
              </a:defRPr>
            </a:lvl1pPr>
          </a:lstStyle>
          <a:p>
            <a:pPr algn="l" defTabSz="1210894"/>
            <a:r>
              <a:rPr lang="de-DE" sz="1600" kern="0">
                <a:solidFill>
                  <a:schemeClr val="tx1"/>
                </a:solidFill>
                <a:latin typeface="+mj-lt"/>
                <a:cs typeface="EnBW DIN Pro"/>
                <a:sym typeface="EnBW DIN Pro"/>
              </a:rPr>
              <a:t>Mitarbeiter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EF57C22C-5FC9-2E35-E764-D843D0146340}"/>
              </a:ext>
            </a:extLst>
          </p:cNvPr>
          <p:cNvSpPr txBox="1"/>
          <p:nvPr/>
        </p:nvSpPr>
        <p:spPr bwMode="gray">
          <a:xfrm>
            <a:off x="9930578" y="6077710"/>
            <a:ext cx="1154477" cy="184666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6"/>
              </a:buClr>
              <a:buSzPct val="140000"/>
            </a:pPr>
            <a:r>
              <a:rPr lang="de-DE" sz="1200">
                <a:ea typeface="DIN-Regular" panose="020B0500010101010101" pitchFamily="34" charset="0"/>
              </a:rPr>
              <a:t>Lindau</a:t>
            </a:r>
          </a:p>
        </p:txBody>
      </p:sp>
      <p:sp>
        <p:nvSpPr>
          <p:cNvPr id="13" name="Ellipse 12">
            <a:extLst>
              <a:ext uri="{FF2B5EF4-FFF2-40B4-BE49-F238E27FC236}">
                <a16:creationId xmlns:a16="http://schemas.microsoft.com/office/drawing/2014/main" id="{878C4E1E-A760-85C7-F31B-CCFC25166752}"/>
              </a:ext>
            </a:extLst>
          </p:cNvPr>
          <p:cNvSpPr/>
          <p:nvPr/>
        </p:nvSpPr>
        <p:spPr bwMode="gray">
          <a:xfrm>
            <a:off x="10058731" y="5840720"/>
            <a:ext cx="216000" cy="216000"/>
          </a:xfrm>
          <a:prstGeom prst="ellipse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ctr"/>
          <a:lstStyle/>
          <a:p>
            <a:pPr algn="ctr"/>
            <a:endParaRPr lang="de-DE" sz="16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0419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92D97C22-C2B1-A627-594A-7B66B7DAEC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96863"/>
            <a:ext cx="8784357" cy="503845"/>
          </a:xfrm>
        </p:spPr>
        <p:txBody>
          <a:bodyPr/>
          <a:lstStyle/>
          <a:p>
            <a:r>
              <a:rPr lang="de-DE"/>
              <a:t>Unser Glasfasernetz:</a:t>
            </a:r>
            <a:br>
              <a:rPr lang="de-DE"/>
            </a:br>
            <a:r>
              <a:rPr lang="de-DE"/>
              <a:t>die Basis für Ihre Kommunikatio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EDD1641-A2FD-69E0-B5BD-11F8E88555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7" y="6543420"/>
            <a:ext cx="10044113" cy="143869"/>
          </a:xfrm>
        </p:spPr>
        <p:txBody>
          <a:bodyPr/>
          <a:lstStyle/>
          <a:p>
            <a:r>
              <a:rPr lang="de-DE"/>
              <a:t>Bereit fürs Glasfaserland? | *Stand: Oktober 202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59378FF-88CB-0EBA-1226-189FB3FB8A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fld id="{0BBFC357-94BC-44C8-B600-C5D15BBAA3CF}" type="slidenum">
              <a:rPr lang="de-DE" smtClean="0"/>
              <a:pPr/>
              <a:t>3</a:t>
            </a:fld>
            <a:endParaRPr lang="de-DE"/>
          </a:p>
        </p:txBody>
      </p:sp>
      <p:cxnSp>
        <p:nvCxnSpPr>
          <p:cNvPr id="2" name="Gerader Verbinder 1">
            <a:extLst>
              <a:ext uri="{FF2B5EF4-FFF2-40B4-BE49-F238E27FC236}">
                <a16:creationId xmlns:a16="http://schemas.microsoft.com/office/drawing/2014/main" id="{8BB73C82-8A29-62B4-ED8B-5AEF9DEB4B3A}"/>
              </a:ext>
            </a:extLst>
          </p:cNvPr>
          <p:cNvCxnSpPr>
            <a:cxnSpLocks/>
          </p:cNvCxnSpPr>
          <p:nvPr/>
        </p:nvCxnSpPr>
        <p:spPr>
          <a:xfrm flipV="1">
            <a:off x="6605300" y="1836712"/>
            <a:ext cx="0" cy="439200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fik 2" descr="Ein Bild, das Karte enthält.&#10;&#10;Automatisch generierte Beschreibung">
            <a:extLst>
              <a:ext uri="{FF2B5EF4-FFF2-40B4-BE49-F238E27FC236}">
                <a16:creationId xmlns:a16="http://schemas.microsoft.com/office/drawing/2014/main" id="{1D50612D-736D-F11A-4E94-E65F9A2383C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>
            <a:off x="2214713" y="1861778"/>
            <a:ext cx="4127812" cy="4389470"/>
          </a:xfrm>
          <a:prstGeom prst="rect">
            <a:avLst/>
          </a:prstGeom>
        </p:spPr>
      </p:pic>
      <p:sp>
        <p:nvSpPr>
          <p:cNvPr id="8" name="Textplatzhalter 2">
            <a:extLst>
              <a:ext uri="{FF2B5EF4-FFF2-40B4-BE49-F238E27FC236}">
                <a16:creationId xmlns:a16="http://schemas.microsoft.com/office/drawing/2014/main" id="{3528DAC0-67F0-00E3-E4D5-566C53DBBE8D}"/>
              </a:ext>
            </a:extLst>
          </p:cNvPr>
          <p:cNvSpPr txBox="1">
            <a:spLocks/>
          </p:cNvSpPr>
          <p:nvPr/>
        </p:nvSpPr>
        <p:spPr>
          <a:xfrm>
            <a:off x="1709287" y="1775253"/>
            <a:ext cx="3959203" cy="370629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Aft>
                <a:spcPts val="0"/>
              </a:spcAft>
              <a:buNone/>
            </a:pPr>
            <a:endParaRPr lang="de-DE"/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635BC421-EEDC-904A-D7F8-E2A0B4979758}"/>
              </a:ext>
            </a:extLst>
          </p:cNvPr>
          <p:cNvSpPr txBox="1">
            <a:spLocks/>
          </p:cNvSpPr>
          <p:nvPr/>
        </p:nvSpPr>
        <p:spPr>
          <a:xfrm>
            <a:off x="7069218" y="1861778"/>
            <a:ext cx="2088926" cy="370629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Aft>
                <a:spcPts val="0"/>
              </a:spcAft>
              <a:buNone/>
            </a:pPr>
            <a:r>
              <a:rPr lang="de-DE">
                <a:latin typeface="+mj-lt"/>
              </a:rPr>
              <a:t>Rund </a:t>
            </a:r>
            <a:r>
              <a:rPr lang="de-DE" sz="2400">
                <a:solidFill>
                  <a:schemeClr val="tx2"/>
                </a:solidFill>
                <a:latin typeface="+mj-lt"/>
              </a:rPr>
              <a:t>50</a:t>
            </a:r>
            <a:br>
              <a:rPr lang="de-DE" sz="2400" b="1">
                <a:solidFill>
                  <a:schemeClr val="tx2"/>
                </a:solidFill>
              </a:rPr>
            </a:br>
            <a:r>
              <a:rPr lang="de-DE"/>
              <a:t>Kommunen im Aufbau*</a:t>
            </a:r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B48F6C70-0D27-E53C-6146-7A90610B36F7}"/>
              </a:ext>
            </a:extLst>
          </p:cNvPr>
          <p:cNvSpPr txBox="1">
            <a:spLocks/>
          </p:cNvSpPr>
          <p:nvPr/>
        </p:nvSpPr>
        <p:spPr>
          <a:xfrm>
            <a:off x="7052718" y="2704864"/>
            <a:ext cx="2088926" cy="370629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Aft>
                <a:spcPts val="0"/>
              </a:spcAft>
              <a:buNone/>
            </a:pPr>
            <a:r>
              <a:rPr lang="de-DE">
                <a:latin typeface="+mj-lt"/>
              </a:rPr>
              <a:t>Rund </a:t>
            </a:r>
            <a:r>
              <a:rPr lang="de-DE" sz="2400">
                <a:solidFill>
                  <a:schemeClr val="bg2"/>
                </a:solidFill>
                <a:latin typeface="+mj-lt"/>
              </a:rPr>
              <a:t>360</a:t>
            </a:r>
            <a:br>
              <a:rPr lang="de-DE" sz="2400" b="1">
                <a:solidFill>
                  <a:schemeClr val="tx2"/>
                </a:solidFill>
              </a:rPr>
            </a:br>
            <a:r>
              <a:rPr lang="de-DE"/>
              <a:t>versorgte Kommunen* 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4ED2A867-B42B-F763-FA13-21750D0C93F4}"/>
              </a:ext>
            </a:extLst>
          </p:cNvPr>
          <p:cNvGrpSpPr/>
          <p:nvPr/>
        </p:nvGrpSpPr>
        <p:grpSpPr>
          <a:xfrm>
            <a:off x="7069218" y="5672456"/>
            <a:ext cx="1547620" cy="184665"/>
            <a:chOff x="6452634" y="1898968"/>
            <a:chExt cx="996810" cy="138500"/>
          </a:xfrm>
        </p:grpSpPr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B042806A-39BE-1B3D-84FA-7ACED5E41F8B}"/>
                </a:ext>
              </a:extLst>
            </p:cNvPr>
            <p:cNvSpPr txBox="1"/>
            <p:nvPr/>
          </p:nvSpPr>
          <p:spPr bwMode="gray">
            <a:xfrm>
              <a:off x="6661075" y="1898968"/>
              <a:ext cx="788369" cy="1385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defTabSz="914133">
                <a:buClr>
                  <a:srgbClr val="FF9900"/>
                </a:buClr>
                <a:buSzPct val="140000"/>
                <a:defRPr/>
              </a:pPr>
              <a:r>
                <a:rPr lang="de-DE" sz="1200">
                  <a:latin typeface="EnBW DIN Pro"/>
                  <a:ea typeface="DIN-Regular" panose="020B0500010101010101" pitchFamily="34" charset="0"/>
                </a:rPr>
                <a:t>Ausbaugebiete</a:t>
              </a:r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E4AB69E4-F709-7165-A150-6FC1181CAC6F}"/>
                </a:ext>
              </a:extLst>
            </p:cNvPr>
            <p:cNvSpPr/>
            <p:nvPr/>
          </p:nvSpPr>
          <p:spPr bwMode="auto">
            <a:xfrm>
              <a:off x="6452634" y="1900721"/>
              <a:ext cx="115937" cy="135001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44000" tIns="144000" rIns="144000" bIns="144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219170" eaLnBrk="0" fontAlgn="base" hangingPunct="0">
                <a:spcAft>
                  <a:spcPct val="0"/>
                </a:spcAft>
                <a:defRPr/>
              </a:pPr>
              <a:endParaRPr lang="de-DE" sz="1867">
                <a:solidFill>
                  <a:srgbClr val="3B3B3B"/>
                </a:solidFill>
                <a:latin typeface="EnBW DIN Pro"/>
              </a:endParaRPr>
            </a:p>
          </p:txBody>
        </p:sp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7D6C8ABE-9582-11A5-29B5-5D17C3C7E8E4}"/>
              </a:ext>
            </a:extLst>
          </p:cNvPr>
          <p:cNvGrpSpPr/>
          <p:nvPr/>
        </p:nvGrpSpPr>
        <p:grpSpPr>
          <a:xfrm>
            <a:off x="7069218" y="5984674"/>
            <a:ext cx="1547620" cy="184665"/>
            <a:chOff x="6452634" y="1898971"/>
            <a:chExt cx="996810" cy="138500"/>
          </a:xfrm>
        </p:grpSpPr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0C4D17F3-280D-5B41-B7FA-BC039FEF8971}"/>
                </a:ext>
              </a:extLst>
            </p:cNvPr>
            <p:cNvSpPr txBox="1"/>
            <p:nvPr/>
          </p:nvSpPr>
          <p:spPr bwMode="gray">
            <a:xfrm>
              <a:off x="6661075" y="1898971"/>
              <a:ext cx="788369" cy="1385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 anchorCtr="0">
              <a:noAutofit/>
            </a:bodyPr>
            <a:lstStyle/>
            <a:p>
              <a:pPr defTabSz="914133">
                <a:buClr>
                  <a:srgbClr val="FF9900"/>
                </a:buClr>
                <a:buSzPct val="140000"/>
                <a:defRPr/>
              </a:pPr>
              <a:r>
                <a:rPr lang="de-DE" sz="1200">
                  <a:solidFill>
                    <a:srgbClr val="3B3B3B"/>
                  </a:solidFill>
                  <a:latin typeface="EnBW DIN Pro"/>
                  <a:ea typeface="DIN-Regular" panose="020B0500010101010101" pitchFamily="34" charset="0"/>
                </a:rPr>
                <a:t>Bestandsgebiete</a:t>
              </a:r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079A0813-6CA4-5633-BDD7-AFB8EBAF74EA}"/>
                </a:ext>
              </a:extLst>
            </p:cNvPr>
            <p:cNvSpPr/>
            <p:nvPr/>
          </p:nvSpPr>
          <p:spPr bwMode="auto">
            <a:xfrm>
              <a:off x="6452634" y="1900717"/>
              <a:ext cx="115937" cy="135001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44000" tIns="144000" rIns="144000" bIns="14400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219170" eaLnBrk="0" fontAlgn="base" hangingPunct="0">
                <a:spcAft>
                  <a:spcPct val="0"/>
                </a:spcAft>
                <a:defRPr/>
              </a:pPr>
              <a:endParaRPr lang="de-DE" sz="1867">
                <a:solidFill>
                  <a:srgbClr val="3B3B3B"/>
                </a:solidFill>
                <a:latin typeface="EnBW DIN Pro"/>
              </a:endParaRPr>
            </a:p>
          </p:txBody>
        </p:sp>
      </p:grpSp>
      <p:sp>
        <p:nvSpPr>
          <p:cNvPr id="11" name="Textfeld 10">
            <a:extLst>
              <a:ext uri="{FF2B5EF4-FFF2-40B4-BE49-F238E27FC236}">
                <a16:creationId xmlns:a16="http://schemas.microsoft.com/office/drawing/2014/main" id="{66CACA1F-297A-589B-529E-1647A6758D2E}"/>
              </a:ext>
            </a:extLst>
          </p:cNvPr>
          <p:cNvSpPr txBox="1"/>
          <p:nvPr/>
        </p:nvSpPr>
        <p:spPr>
          <a:xfrm>
            <a:off x="7052718" y="3547950"/>
            <a:ext cx="6096000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2" indent="0">
              <a:spcAft>
                <a:spcPts val="0"/>
              </a:spcAft>
              <a:buNone/>
            </a:pPr>
            <a:r>
              <a:rPr lang="de-DE" sz="2400">
                <a:solidFill>
                  <a:schemeClr val="tx2"/>
                </a:solidFill>
                <a:latin typeface="+mj-lt"/>
              </a:rPr>
              <a:t>~ 21.700 km</a:t>
            </a:r>
          </a:p>
          <a:p>
            <a:pPr marL="0" lvl="2" indent="0">
              <a:spcAft>
                <a:spcPts val="800"/>
              </a:spcAft>
              <a:buNone/>
            </a:pPr>
            <a:r>
              <a:rPr lang="de-DE"/>
              <a:t>Highspeed - Glasfasernetz*</a:t>
            </a:r>
          </a:p>
        </p:txBody>
      </p:sp>
    </p:spTree>
    <p:extLst>
      <p:ext uri="{BB962C8B-B14F-4D97-AF65-F5344CB8AC3E}">
        <p14:creationId xmlns:p14="http://schemas.microsoft.com/office/powerpoint/2010/main" val="2869103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FCD1C9B-B23D-0347-D288-0ABF16A72E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5127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CD1C9B-B23D-0347-D288-0ABF16A72E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2B647B61-3195-BD0E-DBAD-83FF9F82B0B4}"/>
              </a:ext>
            </a:extLst>
          </p:cNvPr>
          <p:cNvSpPr/>
          <p:nvPr/>
        </p:nvSpPr>
        <p:spPr>
          <a:xfrm>
            <a:off x="-1" y="6090114"/>
            <a:ext cx="12192001" cy="767886"/>
          </a:xfrm>
          <a:custGeom>
            <a:avLst/>
            <a:gdLst>
              <a:gd name="connsiteX0" fmla="*/ 0 w 12517469"/>
              <a:gd name="connsiteY0" fmla="*/ 0 h 1075995"/>
              <a:gd name="connsiteX1" fmla="*/ 12517469 w 12517469"/>
              <a:gd name="connsiteY1" fmla="*/ 0 h 1075995"/>
              <a:gd name="connsiteX2" fmla="*/ 12517469 w 12517469"/>
              <a:gd name="connsiteY2" fmla="*/ 1075996 h 1075995"/>
              <a:gd name="connsiteX3" fmla="*/ 0 w 12517469"/>
              <a:gd name="connsiteY3" fmla="*/ 1075996 h 10759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517469" h="1075995">
                <a:moveTo>
                  <a:pt x="0" y="0"/>
                </a:moveTo>
                <a:lnTo>
                  <a:pt x="12517469" y="0"/>
                </a:lnTo>
                <a:lnTo>
                  <a:pt x="12517469" y="1075996"/>
                </a:lnTo>
                <a:lnTo>
                  <a:pt x="0" y="1075996"/>
                </a:lnTo>
                <a:close/>
              </a:path>
            </a:pathLst>
          </a:custGeom>
          <a:solidFill>
            <a:srgbClr val="CBA677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81" name="Gruppieren 180">
            <a:extLst>
              <a:ext uri="{FF2B5EF4-FFF2-40B4-BE49-F238E27FC236}">
                <a16:creationId xmlns:a16="http://schemas.microsoft.com/office/drawing/2014/main" id="{11674B93-36FE-9280-A8F6-6511415FC78A}"/>
              </a:ext>
            </a:extLst>
          </p:cNvPr>
          <p:cNvGrpSpPr/>
          <p:nvPr/>
        </p:nvGrpSpPr>
        <p:grpSpPr>
          <a:xfrm>
            <a:off x="11811000" y="6317457"/>
            <a:ext cx="295792" cy="64835"/>
            <a:chOff x="6725972" y="6019227"/>
            <a:chExt cx="295792" cy="64835"/>
          </a:xfrm>
        </p:grpSpPr>
        <p:sp>
          <p:nvSpPr>
            <p:cNvPr id="182" name="Freihandform: Form 181">
              <a:extLst>
                <a:ext uri="{FF2B5EF4-FFF2-40B4-BE49-F238E27FC236}">
                  <a16:creationId xmlns:a16="http://schemas.microsoft.com/office/drawing/2014/main" id="{301506BA-BA6F-2A14-EEE1-F6B6830189AE}"/>
                </a:ext>
              </a:extLst>
            </p:cNvPr>
            <p:cNvSpPr/>
            <p:nvPr/>
          </p:nvSpPr>
          <p:spPr>
            <a:xfrm>
              <a:off x="6930387" y="6019517"/>
              <a:ext cx="75614" cy="32195"/>
            </a:xfrm>
            <a:custGeom>
              <a:avLst/>
              <a:gdLst>
                <a:gd name="connsiteX0" fmla="*/ 0 w 19249"/>
                <a:gd name="connsiteY0" fmla="*/ 0 h 8196"/>
                <a:gd name="connsiteX1" fmla="*/ 19250 w 19249"/>
                <a:gd name="connsiteY1" fmla="*/ 0 h 8196"/>
                <a:gd name="connsiteX2" fmla="*/ 19250 w 19249"/>
                <a:gd name="connsiteY2" fmla="*/ 8197 h 8196"/>
                <a:gd name="connsiteX3" fmla="*/ 0 w 19249"/>
                <a:gd name="connsiteY3" fmla="*/ 8197 h 8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49" h="8196">
                  <a:moveTo>
                    <a:pt x="0" y="0"/>
                  </a:moveTo>
                  <a:lnTo>
                    <a:pt x="19250" y="0"/>
                  </a:lnTo>
                  <a:lnTo>
                    <a:pt x="19250" y="8197"/>
                  </a:lnTo>
                  <a:lnTo>
                    <a:pt x="0" y="8197"/>
                  </a:lnTo>
                  <a:close/>
                </a:path>
              </a:pathLst>
            </a:custGeom>
            <a:solidFill>
              <a:srgbClr val="FDC83A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3" name="Freihandform: Form 182">
              <a:extLst>
                <a:ext uri="{FF2B5EF4-FFF2-40B4-BE49-F238E27FC236}">
                  <a16:creationId xmlns:a16="http://schemas.microsoft.com/office/drawing/2014/main" id="{26111B04-7D85-A6BF-E89D-464EAB056E80}"/>
                </a:ext>
              </a:extLst>
            </p:cNvPr>
            <p:cNvSpPr/>
            <p:nvPr/>
          </p:nvSpPr>
          <p:spPr>
            <a:xfrm>
              <a:off x="6928639" y="6051717"/>
              <a:ext cx="77362" cy="32195"/>
            </a:xfrm>
            <a:custGeom>
              <a:avLst/>
              <a:gdLst>
                <a:gd name="connsiteX0" fmla="*/ 0 w 19694"/>
                <a:gd name="connsiteY0" fmla="*/ 0 h 8196"/>
                <a:gd name="connsiteX1" fmla="*/ 19695 w 19694"/>
                <a:gd name="connsiteY1" fmla="*/ 0 h 8196"/>
                <a:gd name="connsiteX2" fmla="*/ 19695 w 19694"/>
                <a:gd name="connsiteY2" fmla="*/ 8197 h 8196"/>
                <a:gd name="connsiteX3" fmla="*/ 0 w 19694"/>
                <a:gd name="connsiteY3" fmla="*/ 8197 h 8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94" h="8196">
                  <a:moveTo>
                    <a:pt x="0" y="0"/>
                  </a:moveTo>
                  <a:lnTo>
                    <a:pt x="19695" y="0"/>
                  </a:lnTo>
                  <a:lnTo>
                    <a:pt x="19695" y="8197"/>
                  </a:lnTo>
                  <a:lnTo>
                    <a:pt x="0" y="8197"/>
                  </a:lnTo>
                  <a:close/>
                </a:path>
              </a:pathLst>
            </a:custGeom>
            <a:solidFill>
              <a:srgbClr val="1195E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4" name="Freihandform: Form 183">
              <a:extLst>
                <a:ext uri="{FF2B5EF4-FFF2-40B4-BE49-F238E27FC236}">
                  <a16:creationId xmlns:a16="http://schemas.microsoft.com/office/drawing/2014/main" id="{B488AFB5-BBB5-0B0C-1488-DA59B79E9DFC}"/>
                </a:ext>
              </a:extLst>
            </p:cNvPr>
            <p:cNvSpPr/>
            <p:nvPr/>
          </p:nvSpPr>
          <p:spPr>
            <a:xfrm>
              <a:off x="6923104" y="6035544"/>
              <a:ext cx="54343" cy="32195"/>
            </a:xfrm>
            <a:custGeom>
              <a:avLst/>
              <a:gdLst>
                <a:gd name="connsiteX0" fmla="*/ 0 w 13834"/>
                <a:gd name="connsiteY0" fmla="*/ 0 h 8196"/>
                <a:gd name="connsiteX1" fmla="*/ 13835 w 13834"/>
                <a:gd name="connsiteY1" fmla="*/ 0 h 8196"/>
                <a:gd name="connsiteX2" fmla="*/ 13835 w 13834"/>
                <a:gd name="connsiteY2" fmla="*/ 8197 h 8196"/>
                <a:gd name="connsiteX3" fmla="*/ 0 w 13834"/>
                <a:gd name="connsiteY3" fmla="*/ 8197 h 8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34" h="8196">
                  <a:moveTo>
                    <a:pt x="0" y="0"/>
                  </a:moveTo>
                  <a:lnTo>
                    <a:pt x="13835" y="0"/>
                  </a:lnTo>
                  <a:lnTo>
                    <a:pt x="13835" y="8197"/>
                  </a:lnTo>
                  <a:lnTo>
                    <a:pt x="0" y="8197"/>
                  </a:lnTo>
                  <a:close/>
                </a:path>
              </a:pathLst>
            </a:custGeom>
            <a:solidFill>
              <a:srgbClr val="00024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5" name="Freihandform: Form 184">
              <a:extLst>
                <a:ext uri="{FF2B5EF4-FFF2-40B4-BE49-F238E27FC236}">
                  <a16:creationId xmlns:a16="http://schemas.microsoft.com/office/drawing/2014/main" id="{FB6767C3-5185-C115-EA4D-5262E44D93FA}"/>
                </a:ext>
              </a:extLst>
            </p:cNvPr>
            <p:cNvSpPr/>
            <p:nvPr/>
          </p:nvSpPr>
          <p:spPr>
            <a:xfrm>
              <a:off x="6967685" y="6041810"/>
              <a:ext cx="20395" cy="20395"/>
            </a:xfrm>
            <a:custGeom>
              <a:avLst/>
              <a:gdLst>
                <a:gd name="connsiteX0" fmla="*/ 5193 w 5192"/>
                <a:gd name="connsiteY0" fmla="*/ 2597 h 5192"/>
                <a:gd name="connsiteX1" fmla="*/ 2597 w 5192"/>
                <a:gd name="connsiteY1" fmla="*/ 5193 h 5192"/>
                <a:gd name="connsiteX2" fmla="*/ 0 w 5192"/>
                <a:gd name="connsiteY2" fmla="*/ 2597 h 5192"/>
                <a:gd name="connsiteX3" fmla="*/ 2597 w 5192"/>
                <a:gd name="connsiteY3" fmla="*/ 0 h 5192"/>
                <a:gd name="connsiteX4" fmla="*/ 5193 w 5192"/>
                <a:gd name="connsiteY4" fmla="*/ 2597 h 5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92" h="5192">
                  <a:moveTo>
                    <a:pt x="5193" y="2597"/>
                  </a:moveTo>
                  <a:cubicBezTo>
                    <a:pt x="5193" y="4043"/>
                    <a:pt x="4043" y="5193"/>
                    <a:pt x="2597" y="5193"/>
                  </a:cubicBezTo>
                  <a:cubicBezTo>
                    <a:pt x="1150" y="5193"/>
                    <a:pt x="0" y="4043"/>
                    <a:pt x="0" y="2597"/>
                  </a:cubicBezTo>
                  <a:cubicBezTo>
                    <a:pt x="0" y="1150"/>
                    <a:pt x="1150" y="0"/>
                    <a:pt x="2597" y="0"/>
                  </a:cubicBezTo>
                  <a:cubicBezTo>
                    <a:pt x="4043" y="0"/>
                    <a:pt x="5193" y="1150"/>
                    <a:pt x="5193" y="2597"/>
                  </a:cubicBezTo>
                </a:path>
              </a:pathLst>
            </a:custGeom>
            <a:solidFill>
              <a:srgbClr val="FEFEF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9" name="Freihandform: Form 228">
              <a:extLst>
                <a:ext uri="{FF2B5EF4-FFF2-40B4-BE49-F238E27FC236}">
                  <a16:creationId xmlns:a16="http://schemas.microsoft.com/office/drawing/2014/main" id="{D67913DF-2D4F-F296-F621-0F7BB7CC1647}"/>
                </a:ext>
              </a:extLst>
            </p:cNvPr>
            <p:cNvSpPr/>
            <p:nvPr/>
          </p:nvSpPr>
          <p:spPr>
            <a:xfrm>
              <a:off x="6961569" y="6035690"/>
              <a:ext cx="32195" cy="32341"/>
            </a:xfrm>
            <a:custGeom>
              <a:avLst/>
              <a:gdLst>
                <a:gd name="connsiteX0" fmla="*/ 4117 w 8196"/>
                <a:gd name="connsiteY0" fmla="*/ 0 h 8233"/>
                <a:gd name="connsiteX1" fmla="*/ 0 w 8196"/>
                <a:gd name="connsiteY1" fmla="*/ 4117 h 8233"/>
                <a:gd name="connsiteX2" fmla="*/ 4117 w 8196"/>
                <a:gd name="connsiteY2" fmla="*/ 8234 h 8233"/>
                <a:gd name="connsiteX3" fmla="*/ 8197 w 8196"/>
                <a:gd name="connsiteY3" fmla="*/ 4117 h 8233"/>
                <a:gd name="connsiteX4" fmla="*/ 4117 w 8196"/>
                <a:gd name="connsiteY4" fmla="*/ 0 h 8233"/>
                <a:gd name="connsiteX5" fmla="*/ 4117 w 8196"/>
                <a:gd name="connsiteY5" fmla="*/ 1855 h 8233"/>
                <a:gd name="connsiteX6" fmla="*/ 6342 w 8196"/>
                <a:gd name="connsiteY6" fmla="*/ 4080 h 8233"/>
                <a:gd name="connsiteX7" fmla="*/ 4117 w 8196"/>
                <a:gd name="connsiteY7" fmla="*/ 6305 h 8233"/>
                <a:gd name="connsiteX8" fmla="*/ 1892 w 8196"/>
                <a:gd name="connsiteY8" fmla="*/ 4080 h 8233"/>
                <a:gd name="connsiteX9" fmla="*/ 4117 w 8196"/>
                <a:gd name="connsiteY9" fmla="*/ 1855 h 8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96" h="8233">
                  <a:moveTo>
                    <a:pt x="4117" y="0"/>
                  </a:moveTo>
                  <a:cubicBezTo>
                    <a:pt x="1855" y="0"/>
                    <a:pt x="0" y="1855"/>
                    <a:pt x="0" y="4117"/>
                  </a:cubicBezTo>
                  <a:cubicBezTo>
                    <a:pt x="0" y="6379"/>
                    <a:pt x="1817" y="8234"/>
                    <a:pt x="4117" y="8234"/>
                  </a:cubicBezTo>
                  <a:cubicBezTo>
                    <a:pt x="6417" y="8234"/>
                    <a:pt x="8197" y="6379"/>
                    <a:pt x="8197" y="4117"/>
                  </a:cubicBezTo>
                  <a:cubicBezTo>
                    <a:pt x="8197" y="1855"/>
                    <a:pt x="6342" y="0"/>
                    <a:pt x="4117" y="0"/>
                  </a:cubicBezTo>
                  <a:moveTo>
                    <a:pt x="4117" y="1855"/>
                  </a:moveTo>
                  <a:cubicBezTo>
                    <a:pt x="5341" y="1855"/>
                    <a:pt x="6342" y="2856"/>
                    <a:pt x="6342" y="4080"/>
                  </a:cubicBezTo>
                  <a:cubicBezTo>
                    <a:pt x="6342" y="5304"/>
                    <a:pt x="5341" y="6305"/>
                    <a:pt x="4117" y="6305"/>
                  </a:cubicBezTo>
                  <a:cubicBezTo>
                    <a:pt x="2893" y="6305"/>
                    <a:pt x="1892" y="5304"/>
                    <a:pt x="1892" y="4080"/>
                  </a:cubicBezTo>
                  <a:cubicBezTo>
                    <a:pt x="1892" y="2856"/>
                    <a:pt x="2893" y="1855"/>
                    <a:pt x="4117" y="1855"/>
                  </a:cubicBezTo>
                </a:path>
              </a:pathLst>
            </a:custGeom>
            <a:solidFill>
              <a:srgbClr val="00009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1" name="Freihandform: Form 230">
              <a:extLst>
                <a:ext uri="{FF2B5EF4-FFF2-40B4-BE49-F238E27FC236}">
                  <a16:creationId xmlns:a16="http://schemas.microsoft.com/office/drawing/2014/main" id="{276C15BB-BF7C-F9C0-4A11-42A8F769BFF2}"/>
                </a:ext>
              </a:extLst>
            </p:cNvPr>
            <p:cNvSpPr/>
            <p:nvPr/>
          </p:nvSpPr>
          <p:spPr>
            <a:xfrm>
              <a:off x="6995953" y="6025783"/>
              <a:ext cx="20395" cy="20395"/>
            </a:xfrm>
            <a:custGeom>
              <a:avLst/>
              <a:gdLst>
                <a:gd name="connsiteX0" fmla="*/ 5193 w 5192"/>
                <a:gd name="connsiteY0" fmla="*/ 2597 h 5192"/>
                <a:gd name="connsiteX1" fmla="*/ 2596 w 5192"/>
                <a:gd name="connsiteY1" fmla="*/ 5193 h 5192"/>
                <a:gd name="connsiteX2" fmla="*/ 0 w 5192"/>
                <a:gd name="connsiteY2" fmla="*/ 2597 h 5192"/>
                <a:gd name="connsiteX3" fmla="*/ 2596 w 5192"/>
                <a:gd name="connsiteY3" fmla="*/ 0 h 5192"/>
                <a:gd name="connsiteX4" fmla="*/ 5193 w 5192"/>
                <a:gd name="connsiteY4" fmla="*/ 2597 h 5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92" h="5192">
                  <a:moveTo>
                    <a:pt x="5193" y="2597"/>
                  </a:moveTo>
                  <a:cubicBezTo>
                    <a:pt x="5193" y="4043"/>
                    <a:pt x="4043" y="5193"/>
                    <a:pt x="2596" y="5193"/>
                  </a:cubicBezTo>
                  <a:cubicBezTo>
                    <a:pt x="1150" y="5193"/>
                    <a:pt x="0" y="4043"/>
                    <a:pt x="0" y="2597"/>
                  </a:cubicBezTo>
                  <a:cubicBezTo>
                    <a:pt x="0" y="1150"/>
                    <a:pt x="1150" y="0"/>
                    <a:pt x="2596" y="0"/>
                  </a:cubicBezTo>
                  <a:cubicBezTo>
                    <a:pt x="4043" y="0"/>
                    <a:pt x="5193" y="1150"/>
                    <a:pt x="5193" y="2597"/>
                  </a:cubicBezTo>
                </a:path>
              </a:pathLst>
            </a:custGeom>
            <a:solidFill>
              <a:srgbClr val="FEFEF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2" name="Freihandform: Form 231">
              <a:extLst>
                <a:ext uri="{FF2B5EF4-FFF2-40B4-BE49-F238E27FC236}">
                  <a16:creationId xmlns:a16="http://schemas.microsoft.com/office/drawing/2014/main" id="{06B5BA66-ED3B-637B-8B55-4A7E192404C1}"/>
                </a:ext>
              </a:extLst>
            </p:cNvPr>
            <p:cNvSpPr/>
            <p:nvPr/>
          </p:nvSpPr>
          <p:spPr>
            <a:xfrm>
              <a:off x="6989514" y="6019635"/>
              <a:ext cx="32250" cy="32250"/>
            </a:xfrm>
            <a:custGeom>
              <a:avLst/>
              <a:gdLst>
                <a:gd name="connsiteX0" fmla="*/ 7648 w 8210"/>
                <a:gd name="connsiteY0" fmla="*/ 2047 h 8210"/>
                <a:gd name="connsiteX1" fmla="*/ 2047 w 8210"/>
                <a:gd name="connsiteY1" fmla="*/ 563 h 8210"/>
                <a:gd name="connsiteX2" fmla="*/ 563 w 8210"/>
                <a:gd name="connsiteY2" fmla="*/ 6164 h 8210"/>
                <a:gd name="connsiteX3" fmla="*/ 6164 w 8210"/>
                <a:gd name="connsiteY3" fmla="*/ 7648 h 8210"/>
                <a:gd name="connsiteX4" fmla="*/ 7648 w 8210"/>
                <a:gd name="connsiteY4" fmla="*/ 2047 h 8210"/>
                <a:gd name="connsiteX5" fmla="*/ 6016 w 8210"/>
                <a:gd name="connsiteY5" fmla="*/ 2974 h 8210"/>
                <a:gd name="connsiteX6" fmla="*/ 5199 w 8210"/>
                <a:gd name="connsiteY6" fmla="*/ 6016 h 8210"/>
                <a:gd name="connsiteX7" fmla="*/ 2158 w 8210"/>
                <a:gd name="connsiteY7" fmla="*/ 5199 h 8210"/>
                <a:gd name="connsiteX8" fmla="*/ 2974 w 8210"/>
                <a:gd name="connsiteY8" fmla="*/ 2158 h 8210"/>
                <a:gd name="connsiteX9" fmla="*/ 6016 w 8210"/>
                <a:gd name="connsiteY9" fmla="*/ 2974 h 8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210" h="8210">
                  <a:moveTo>
                    <a:pt x="7648" y="2047"/>
                  </a:moveTo>
                  <a:cubicBezTo>
                    <a:pt x="6535" y="81"/>
                    <a:pt x="4013" y="-586"/>
                    <a:pt x="2047" y="563"/>
                  </a:cubicBezTo>
                  <a:cubicBezTo>
                    <a:pt x="81" y="1713"/>
                    <a:pt x="-586" y="4198"/>
                    <a:pt x="563" y="6164"/>
                  </a:cubicBezTo>
                  <a:cubicBezTo>
                    <a:pt x="1676" y="8130"/>
                    <a:pt x="4198" y="8798"/>
                    <a:pt x="6164" y="7648"/>
                  </a:cubicBezTo>
                  <a:cubicBezTo>
                    <a:pt x="8130" y="6535"/>
                    <a:pt x="8798" y="4013"/>
                    <a:pt x="7648" y="2047"/>
                  </a:cubicBezTo>
                  <a:moveTo>
                    <a:pt x="6016" y="2974"/>
                  </a:moveTo>
                  <a:cubicBezTo>
                    <a:pt x="6646" y="4050"/>
                    <a:pt x="6275" y="5422"/>
                    <a:pt x="5199" y="6016"/>
                  </a:cubicBezTo>
                  <a:cubicBezTo>
                    <a:pt x="4124" y="6646"/>
                    <a:pt x="2752" y="6275"/>
                    <a:pt x="2158" y="5199"/>
                  </a:cubicBezTo>
                  <a:cubicBezTo>
                    <a:pt x="1528" y="4124"/>
                    <a:pt x="1898" y="2752"/>
                    <a:pt x="2974" y="2158"/>
                  </a:cubicBezTo>
                  <a:cubicBezTo>
                    <a:pt x="4050" y="1528"/>
                    <a:pt x="5422" y="1898"/>
                    <a:pt x="6016" y="2974"/>
                  </a:cubicBezTo>
                </a:path>
              </a:pathLst>
            </a:custGeom>
            <a:solidFill>
              <a:srgbClr val="FDD35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6" name="Freihandform: Form 235">
              <a:extLst>
                <a:ext uri="{FF2B5EF4-FFF2-40B4-BE49-F238E27FC236}">
                  <a16:creationId xmlns:a16="http://schemas.microsoft.com/office/drawing/2014/main" id="{840D84D8-FF85-1C03-2F0F-6D57C7B32556}"/>
                </a:ext>
              </a:extLst>
            </p:cNvPr>
            <p:cNvSpPr/>
            <p:nvPr/>
          </p:nvSpPr>
          <p:spPr>
            <a:xfrm>
              <a:off x="6995513" y="6058273"/>
              <a:ext cx="20395" cy="20395"/>
            </a:xfrm>
            <a:custGeom>
              <a:avLst/>
              <a:gdLst>
                <a:gd name="connsiteX0" fmla="*/ 5193 w 5192"/>
                <a:gd name="connsiteY0" fmla="*/ 2597 h 5192"/>
                <a:gd name="connsiteX1" fmla="*/ 2597 w 5192"/>
                <a:gd name="connsiteY1" fmla="*/ 5193 h 5192"/>
                <a:gd name="connsiteX2" fmla="*/ 0 w 5192"/>
                <a:gd name="connsiteY2" fmla="*/ 2597 h 5192"/>
                <a:gd name="connsiteX3" fmla="*/ 2597 w 5192"/>
                <a:gd name="connsiteY3" fmla="*/ 0 h 5192"/>
                <a:gd name="connsiteX4" fmla="*/ 5193 w 5192"/>
                <a:gd name="connsiteY4" fmla="*/ 2597 h 5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92" h="5192">
                  <a:moveTo>
                    <a:pt x="5193" y="2597"/>
                  </a:moveTo>
                  <a:cubicBezTo>
                    <a:pt x="5193" y="4043"/>
                    <a:pt x="4043" y="5193"/>
                    <a:pt x="2597" y="5193"/>
                  </a:cubicBezTo>
                  <a:cubicBezTo>
                    <a:pt x="1150" y="5193"/>
                    <a:pt x="0" y="4043"/>
                    <a:pt x="0" y="2597"/>
                  </a:cubicBezTo>
                  <a:cubicBezTo>
                    <a:pt x="0" y="1150"/>
                    <a:pt x="1150" y="0"/>
                    <a:pt x="2597" y="0"/>
                  </a:cubicBezTo>
                  <a:cubicBezTo>
                    <a:pt x="4043" y="0"/>
                    <a:pt x="5193" y="1150"/>
                    <a:pt x="5193" y="2597"/>
                  </a:cubicBezTo>
                </a:path>
              </a:pathLst>
            </a:custGeom>
            <a:solidFill>
              <a:srgbClr val="FEFEF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7" name="Freihandform: Form 236">
              <a:extLst>
                <a:ext uri="{FF2B5EF4-FFF2-40B4-BE49-F238E27FC236}">
                  <a16:creationId xmlns:a16="http://schemas.microsoft.com/office/drawing/2014/main" id="{33806308-DA0E-7C01-A87A-329D2D6A1450}"/>
                </a:ext>
              </a:extLst>
            </p:cNvPr>
            <p:cNvSpPr/>
            <p:nvPr/>
          </p:nvSpPr>
          <p:spPr>
            <a:xfrm>
              <a:off x="6989546" y="6051787"/>
              <a:ext cx="32188" cy="32121"/>
            </a:xfrm>
            <a:custGeom>
              <a:avLst/>
              <a:gdLst>
                <a:gd name="connsiteX0" fmla="*/ 7639 w 8194"/>
                <a:gd name="connsiteY0" fmla="*/ 6139 h 8177"/>
                <a:gd name="connsiteX1" fmla="*/ 6156 w 8194"/>
                <a:gd name="connsiteY1" fmla="*/ 539 h 8177"/>
                <a:gd name="connsiteX2" fmla="*/ 555 w 8194"/>
                <a:gd name="connsiteY2" fmla="*/ 2022 h 8177"/>
                <a:gd name="connsiteX3" fmla="*/ 2039 w 8194"/>
                <a:gd name="connsiteY3" fmla="*/ 7623 h 8177"/>
                <a:gd name="connsiteX4" fmla="*/ 7639 w 8194"/>
                <a:gd name="connsiteY4" fmla="*/ 6139 h 8177"/>
                <a:gd name="connsiteX5" fmla="*/ 6008 w 8194"/>
                <a:gd name="connsiteY5" fmla="*/ 5212 h 8177"/>
                <a:gd name="connsiteX6" fmla="*/ 2966 w 8194"/>
                <a:gd name="connsiteY6" fmla="*/ 6028 h 8177"/>
                <a:gd name="connsiteX7" fmla="*/ 2150 w 8194"/>
                <a:gd name="connsiteY7" fmla="*/ 2986 h 8177"/>
                <a:gd name="connsiteX8" fmla="*/ 5191 w 8194"/>
                <a:gd name="connsiteY8" fmla="*/ 2170 h 8177"/>
                <a:gd name="connsiteX9" fmla="*/ 6008 w 8194"/>
                <a:gd name="connsiteY9" fmla="*/ 5212 h 8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94" h="8177">
                  <a:moveTo>
                    <a:pt x="7639" y="6139"/>
                  </a:moveTo>
                  <a:cubicBezTo>
                    <a:pt x="8789" y="4173"/>
                    <a:pt x="8084" y="1651"/>
                    <a:pt x="6156" y="539"/>
                  </a:cubicBezTo>
                  <a:cubicBezTo>
                    <a:pt x="4190" y="-574"/>
                    <a:pt x="1705" y="94"/>
                    <a:pt x="555" y="2022"/>
                  </a:cubicBezTo>
                  <a:cubicBezTo>
                    <a:pt x="-595" y="3988"/>
                    <a:pt x="110" y="6510"/>
                    <a:pt x="2039" y="7623"/>
                  </a:cubicBezTo>
                  <a:cubicBezTo>
                    <a:pt x="4005" y="8773"/>
                    <a:pt x="6489" y="8068"/>
                    <a:pt x="7639" y="6139"/>
                  </a:cubicBezTo>
                  <a:moveTo>
                    <a:pt x="6008" y="5212"/>
                  </a:moveTo>
                  <a:cubicBezTo>
                    <a:pt x="5377" y="6287"/>
                    <a:pt x="4005" y="6659"/>
                    <a:pt x="2966" y="6028"/>
                  </a:cubicBezTo>
                  <a:cubicBezTo>
                    <a:pt x="1890" y="5397"/>
                    <a:pt x="1519" y="4062"/>
                    <a:pt x="2150" y="2986"/>
                  </a:cubicBezTo>
                  <a:cubicBezTo>
                    <a:pt x="2780" y="1911"/>
                    <a:pt x="4153" y="1540"/>
                    <a:pt x="5191" y="2170"/>
                  </a:cubicBezTo>
                  <a:cubicBezTo>
                    <a:pt x="6267" y="2801"/>
                    <a:pt x="6638" y="4173"/>
                    <a:pt x="6008" y="5212"/>
                  </a:cubicBezTo>
                </a:path>
              </a:pathLst>
            </a:custGeom>
            <a:solidFill>
              <a:srgbClr val="66C2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8" name="Freihandform: Form 237">
              <a:extLst>
                <a:ext uri="{FF2B5EF4-FFF2-40B4-BE49-F238E27FC236}">
                  <a16:creationId xmlns:a16="http://schemas.microsoft.com/office/drawing/2014/main" id="{138281A0-E2BB-F185-04CD-92C45E90EF03}"/>
                </a:ext>
              </a:extLst>
            </p:cNvPr>
            <p:cNvSpPr/>
            <p:nvPr/>
          </p:nvSpPr>
          <p:spPr>
            <a:xfrm>
              <a:off x="6725972" y="6019227"/>
              <a:ext cx="234136" cy="64835"/>
            </a:xfrm>
            <a:custGeom>
              <a:avLst/>
              <a:gdLst>
                <a:gd name="connsiteX0" fmla="*/ 59604 w 59604"/>
                <a:gd name="connsiteY0" fmla="*/ 16505 h 16505"/>
                <a:gd name="connsiteX1" fmla="*/ 52669 w 59604"/>
                <a:gd name="connsiteY1" fmla="*/ 12388 h 16505"/>
                <a:gd name="connsiteX2" fmla="*/ 55673 w 59604"/>
                <a:gd name="connsiteY2" fmla="*/ 1112 h 16505"/>
                <a:gd name="connsiteX3" fmla="*/ 59604 w 59604"/>
                <a:gd name="connsiteY3" fmla="*/ 0 h 16505"/>
                <a:gd name="connsiteX4" fmla="*/ 59604 w 59604"/>
                <a:gd name="connsiteY4" fmla="*/ 0 h 16505"/>
                <a:gd name="connsiteX5" fmla="*/ 0 w 59604"/>
                <a:gd name="connsiteY5" fmla="*/ 0 h 16505"/>
                <a:gd name="connsiteX6" fmla="*/ 0 w 59604"/>
                <a:gd name="connsiteY6" fmla="*/ 16468 h 16505"/>
                <a:gd name="connsiteX7" fmla="*/ 59604 w 59604"/>
                <a:gd name="connsiteY7" fmla="*/ 16468 h 16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604" h="16505">
                  <a:moveTo>
                    <a:pt x="59604" y="16505"/>
                  </a:moveTo>
                  <a:cubicBezTo>
                    <a:pt x="56823" y="16431"/>
                    <a:pt x="54152" y="14984"/>
                    <a:pt x="52669" y="12388"/>
                  </a:cubicBezTo>
                  <a:cubicBezTo>
                    <a:pt x="50406" y="8457"/>
                    <a:pt x="51741" y="3412"/>
                    <a:pt x="55673" y="1112"/>
                  </a:cubicBezTo>
                  <a:cubicBezTo>
                    <a:pt x="56896" y="408"/>
                    <a:pt x="58269" y="37"/>
                    <a:pt x="59604" y="0"/>
                  </a:cubicBezTo>
                  <a:lnTo>
                    <a:pt x="59604" y="0"/>
                  </a:lnTo>
                  <a:cubicBezTo>
                    <a:pt x="59604" y="0"/>
                    <a:pt x="0" y="0"/>
                    <a:pt x="0" y="0"/>
                  </a:cubicBezTo>
                  <a:lnTo>
                    <a:pt x="0" y="16468"/>
                  </a:lnTo>
                  <a:lnTo>
                    <a:pt x="59604" y="16468"/>
                  </a:lnTo>
                  <a:close/>
                </a:path>
              </a:pathLst>
            </a:custGeom>
            <a:solidFill>
              <a:srgbClr val="E2491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44" name="Freihandform: Form 43">
            <a:extLst>
              <a:ext uri="{FF2B5EF4-FFF2-40B4-BE49-F238E27FC236}">
                <a16:creationId xmlns:a16="http://schemas.microsoft.com/office/drawing/2014/main" id="{847C29A8-6712-19ED-3D17-3144613D4945}"/>
              </a:ext>
            </a:extLst>
          </p:cNvPr>
          <p:cNvSpPr/>
          <p:nvPr/>
        </p:nvSpPr>
        <p:spPr>
          <a:xfrm>
            <a:off x="7429992" y="5029200"/>
            <a:ext cx="3162811" cy="411451"/>
          </a:xfrm>
          <a:custGeom>
            <a:avLst/>
            <a:gdLst>
              <a:gd name="connsiteX0" fmla="*/ 641106 w 805156"/>
              <a:gd name="connsiteY0" fmla="*/ 1 h 104743"/>
              <a:gd name="connsiteX1" fmla="*/ 0 w 805156"/>
              <a:gd name="connsiteY1" fmla="*/ 1484 h 104743"/>
              <a:gd name="connsiteX2" fmla="*/ 0 w 805156"/>
              <a:gd name="connsiteY2" fmla="*/ 104744 h 104743"/>
              <a:gd name="connsiteX3" fmla="*/ 805157 w 805156"/>
              <a:gd name="connsiteY3" fmla="*/ 104744 h 104743"/>
              <a:gd name="connsiteX4" fmla="*/ 782643 w 805156"/>
              <a:gd name="connsiteY4" fmla="*/ 71066 h 104743"/>
              <a:gd name="connsiteX5" fmla="*/ 641106 w 805156"/>
              <a:gd name="connsiteY5" fmla="*/ 1 h 104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05156" h="104743">
                <a:moveTo>
                  <a:pt x="641106" y="1"/>
                </a:moveTo>
                <a:lnTo>
                  <a:pt x="0" y="1484"/>
                </a:lnTo>
                <a:lnTo>
                  <a:pt x="0" y="104744"/>
                </a:lnTo>
                <a:lnTo>
                  <a:pt x="805157" y="104744"/>
                </a:lnTo>
                <a:lnTo>
                  <a:pt x="782643" y="71066"/>
                </a:lnTo>
                <a:cubicBezTo>
                  <a:pt x="753119" y="26928"/>
                  <a:pt x="699264" y="-148"/>
                  <a:pt x="641106" y="1"/>
                </a:cubicBezTo>
              </a:path>
            </a:pathLst>
          </a:custGeom>
          <a:solidFill>
            <a:srgbClr val="70A638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78" name="Freihandform: Form 77">
            <a:extLst>
              <a:ext uri="{FF2B5EF4-FFF2-40B4-BE49-F238E27FC236}">
                <a16:creationId xmlns:a16="http://schemas.microsoft.com/office/drawing/2014/main" id="{27F8DE82-6642-CDD8-E151-5870D9744787}"/>
              </a:ext>
            </a:extLst>
          </p:cNvPr>
          <p:cNvSpPr/>
          <p:nvPr/>
        </p:nvSpPr>
        <p:spPr>
          <a:xfrm flipH="1">
            <a:off x="5562600" y="5151456"/>
            <a:ext cx="5074416" cy="170080"/>
          </a:xfrm>
          <a:custGeom>
            <a:avLst/>
            <a:gdLst>
              <a:gd name="connsiteX0" fmla="*/ 0 w 670852"/>
              <a:gd name="connsiteY0" fmla="*/ 0 h 25555"/>
              <a:gd name="connsiteX1" fmla="*/ 670853 w 670852"/>
              <a:gd name="connsiteY1" fmla="*/ 0 h 25555"/>
              <a:gd name="connsiteX2" fmla="*/ 670853 w 670852"/>
              <a:gd name="connsiteY2" fmla="*/ 25555 h 25555"/>
              <a:gd name="connsiteX3" fmla="*/ 0 w 670852"/>
              <a:gd name="connsiteY3" fmla="*/ 25555 h 255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70852" h="25555">
                <a:moveTo>
                  <a:pt x="0" y="0"/>
                </a:moveTo>
                <a:lnTo>
                  <a:pt x="670853" y="0"/>
                </a:lnTo>
                <a:lnTo>
                  <a:pt x="670853" y="25555"/>
                </a:lnTo>
                <a:lnTo>
                  <a:pt x="0" y="25555"/>
                </a:lnTo>
                <a:close/>
              </a:path>
            </a:pathLst>
          </a:custGeom>
          <a:solidFill>
            <a:srgbClr val="CBA677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79" name="Freihandform: Form 78">
            <a:extLst>
              <a:ext uri="{FF2B5EF4-FFF2-40B4-BE49-F238E27FC236}">
                <a16:creationId xmlns:a16="http://schemas.microsoft.com/office/drawing/2014/main" id="{6AFE6AB2-E751-ED0C-280A-33E34FF0F5F4}"/>
              </a:ext>
            </a:extLst>
          </p:cNvPr>
          <p:cNvSpPr/>
          <p:nvPr/>
        </p:nvSpPr>
        <p:spPr>
          <a:xfrm flipH="1">
            <a:off x="5638800" y="5321782"/>
            <a:ext cx="4998216" cy="242650"/>
          </a:xfrm>
          <a:custGeom>
            <a:avLst/>
            <a:gdLst>
              <a:gd name="connsiteX0" fmla="*/ 0 w 670852"/>
              <a:gd name="connsiteY0" fmla="*/ 0 h 36459"/>
              <a:gd name="connsiteX1" fmla="*/ 670853 w 670852"/>
              <a:gd name="connsiteY1" fmla="*/ 0 h 36459"/>
              <a:gd name="connsiteX2" fmla="*/ 670853 w 670852"/>
              <a:gd name="connsiteY2" fmla="*/ 36460 h 36459"/>
              <a:gd name="connsiteX3" fmla="*/ 0 w 670852"/>
              <a:gd name="connsiteY3" fmla="*/ 36460 h 364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70852" h="36459">
                <a:moveTo>
                  <a:pt x="0" y="0"/>
                </a:moveTo>
                <a:lnTo>
                  <a:pt x="670853" y="0"/>
                </a:lnTo>
                <a:lnTo>
                  <a:pt x="670853" y="36460"/>
                </a:lnTo>
                <a:lnTo>
                  <a:pt x="0" y="36460"/>
                </a:lnTo>
                <a:close/>
              </a:path>
            </a:pathLst>
          </a:custGeom>
          <a:solidFill>
            <a:srgbClr val="9FCE6C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46" name="Freihandform: Form 45">
            <a:extLst>
              <a:ext uri="{FF2B5EF4-FFF2-40B4-BE49-F238E27FC236}">
                <a16:creationId xmlns:a16="http://schemas.microsoft.com/office/drawing/2014/main" id="{65143178-50D2-FB27-3F51-6082FACCAB64}"/>
              </a:ext>
            </a:extLst>
          </p:cNvPr>
          <p:cNvSpPr/>
          <p:nvPr/>
        </p:nvSpPr>
        <p:spPr>
          <a:xfrm flipH="1">
            <a:off x="5741118" y="4137386"/>
            <a:ext cx="793628" cy="1423100"/>
          </a:xfrm>
          <a:custGeom>
            <a:avLst/>
            <a:gdLst>
              <a:gd name="connsiteX0" fmla="*/ 119245 w 119245"/>
              <a:gd name="connsiteY0" fmla="*/ 213826 h 213825"/>
              <a:gd name="connsiteX1" fmla="*/ 0 w 119245"/>
              <a:gd name="connsiteY1" fmla="*/ 213826 h 213825"/>
              <a:gd name="connsiteX2" fmla="*/ 0 w 119245"/>
              <a:gd name="connsiteY2" fmla="*/ 72215 h 213825"/>
              <a:gd name="connsiteX3" fmla="*/ 55710 w 119245"/>
              <a:gd name="connsiteY3" fmla="*/ 1892 h 213825"/>
              <a:gd name="connsiteX4" fmla="*/ 63536 w 119245"/>
              <a:gd name="connsiteY4" fmla="*/ 1892 h 213825"/>
              <a:gd name="connsiteX5" fmla="*/ 119245 w 119245"/>
              <a:gd name="connsiteY5" fmla="*/ 72215 h 213825"/>
              <a:gd name="connsiteX6" fmla="*/ 119245 w 119245"/>
              <a:gd name="connsiteY6" fmla="*/ 213826 h 21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245" h="213825">
                <a:moveTo>
                  <a:pt x="119245" y="213826"/>
                </a:moveTo>
                <a:lnTo>
                  <a:pt x="0" y="213826"/>
                </a:lnTo>
                <a:lnTo>
                  <a:pt x="0" y="72215"/>
                </a:lnTo>
                <a:lnTo>
                  <a:pt x="55710" y="1892"/>
                </a:lnTo>
                <a:cubicBezTo>
                  <a:pt x="57713" y="-631"/>
                  <a:pt x="61533" y="-631"/>
                  <a:pt x="63536" y="1892"/>
                </a:cubicBezTo>
                <a:lnTo>
                  <a:pt x="119245" y="72215"/>
                </a:lnTo>
                <a:lnTo>
                  <a:pt x="119245" y="213826"/>
                </a:lnTo>
                <a:close/>
              </a:path>
            </a:pathLst>
          </a:custGeom>
          <a:solidFill>
            <a:srgbClr val="D1D1D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45" name="Freihandform: Form 44">
            <a:extLst>
              <a:ext uri="{FF2B5EF4-FFF2-40B4-BE49-F238E27FC236}">
                <a16:creationId xmlns:a16="http://schemas.microsoft.com/office/drawing/2014/main" id="{6DDDF83C-15DA-90FF-B0BA-37E9E67BA83B}"/>
              </a:ext>
            </a:extLst>
          </p:cNvPr>
          <p:cNvSpPr/>
          <p:nvPr/>
        </p:nvSpPr>
        <p:spPr>
          <a:xfrm flipH="1">
            <a:off x="5029200" y="4137386"/>
            <a:ext cx="793628" cy="1423100"/>
          </a:xfrm>
          <a:custGeom>
            <a:avLst/>
            <a:gdLst>
              <a:gd name="connsiteX0" fmla="*/ 119245 w 119245"/>
              <a:gd name="connsiteY0" fmla="*/ 213826 h 213825"/>
              <a:gd name="connsiteX1" fmla="*/ 0 w 119245"/>
              <a:gd name="connsiteY1" fmla="*/ 213826 h 213825"/>
              <a:gd name="connsiteX2" fmla="*/ 0 w 119245"/>
              <a:gd name="connsiteY2" fmla="*/ 72215 h 213825"/>
              <a:gd name="connsiteX3" fmla="*/ 55710 w 119245"/>
              <a:gd name="connsiteY3" fmla="*/ 1892 h 213825"/>
              <a:gd name="connsiteX4" fmla="*/ 63536 w 119245"/>
              <a:gd name="connsiteY4" fmla="*/ 1892 h 213825"/>
              <a:gd name="connsiteX5" fmla="*/ 119245 w 119245"/>
              <a:gd name="connsiteY5" fmla="*/ 72215 h 213825"/>
              <a:gd name="connsiteX6" fmla="*/ 119245 w 119245"/>
              <a:gd name="connsiteY6" fmla="*/ 213826 h 21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245" h="213825">
                <a:moveTo>
                  <a:pt x="119245" y="213826"/>
                </a:moveTo>
                <a:lnTo>
                  <a:pt x="0" y="213826"/>
                </a:lnTo>
                <a:lnTo>
                  <a:pt x="0" y="72215"/>
                </a:lnTo>
                <a:lnTo>
                  <a:pt x="55710" y="1892"/>
                </a:lnTo>
                <a:cubicBezTo>
                  <a:pt x="57713" y="-631"/>
                  <a:pt x="61533" y="-631"/>
                  <a:pt x="63536" y="1892"/>
                </a:cubicBezTo>
                <a:lnTo>
                  <a:pt x="119245" y="72215"/>
                </a:lnTo>
                <a:lnTo>
                  <a:pt x="119245" y="213826"/>
                </a:lnTo>
                <a:close/>
              </a:path>
            </a:pathLst>
          </a:custGeom>
          <a:solidFill>
            <a:srgbClr val="D1D1D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3C76C735-0B51-3436-4C74-C37A65EF953A}"/>
              </a:ext>
            </a:extLst>
          </p:cNvPr>
          <p:cNvGrpSpPr/>
          <p:nvPr/>
        </p:nvGrpSpPr>
        <p:grpSpPr>
          <a:xfrm flipH="1">
            <a:off x="9971000" y="4648200"/>
            <a:ext cx="632471" cy="487214"/>
            <a:chOff x="8142012" y="5048876"/>
            <a:chExt cx="632471" cy="487214"/>
          </a:xfrm>
        </p:grpSpPr>
        <p:sp>
          <p:nvSpPr>
            <p:cNvPr id="197" name="Freihandform: Form 196">
              <a:extLst>
                <a:ext uri="{FF2B5EF4-FFF2-40B4-BE49-F238E27FC236}">
                  <a16:creationId xmlns:a16="http://schemas.microsoft.com/office/drawing/2014/main" id="{5F85E058-B46F-D4C2-A6F9-49611D695D6F}"/>
                </a:ext>
              </a:extLst>
            </p:cNvPr>
            <p:cNvSpPr/>
            <p:nvPr/>
          </p:nvSpPr>
          <p:spPr>
            <a:xfrm>
              <a:off x="8418403" y="5242803"/>
              <a:ext cx="239671" cy="293287"/>
            </a:xfrm>
            <a:custGeom>
              <a:avLst/>
              <a:gdLst>
                <a:gd name="connsiteX0" fmla="*/ 22699 w 61013"/>
                <a:gd name="connsiteY0" fmla="*/ 0 h 74662"/>
                <a:gd name="connsiteX1" fmla="*/ 22699 w 61013"/>
                <a:gd name="connsiteY1" fmla="*/ 44768 h 74662"/>
                <a:gd name="connsiteX2" fmla="*/ 33196 w 61013"/>
                <a:gd name="connsiteY2" fmla="*/ 44768 h 74662"/>
                <a:gd name="connsiteX3" fmla="*/ 43470 w 61013"/>
                <a:gd name="connsiteY3" fmla="*/ 38018 h 74662"/>
                <a:gd name="connsiteX4" fmla="*/ 55784 w 61013"/>
                <a:gd name="connsiteY4" fmla="*/ 9643 h 74662"/>
                <a:gd name="connsiteX5" fmla="*/ 61013 w 61013"/>
                <a:gd name="connsiteY5" fmla="*/ 11906 h 74662"/>
                <a:gd name="connsiteX6" fmla="*/ 48700 w 61013"/>
                <a:gd name="connsiteY6" fmla="*/ 40280 h 74662"/>
                <a:gd name="connsiteX7" fmla="*/ 33196 w 61013"/>
                <a:gd name="connsiteY7" fmla="*/ 50443 h 74662"/>
                <a:gd name="connsiteX8" fmla="*/ 22699 w 61013"/>
                <a:gd name="connsiteY8" fmla="*/ 50443 h 74662"/>
                <a:gd name="connsiteX9" fmla="*/ 22699 w 61013"/>
                <a:gd name="connsiteY9" fmla="*/ 74663 h 74662"/>
                <a:gd name="connsiteX10" fmla="*/ 0 w 61013"/>
                <a:gd name="connsiteY10" fmla="*/ 74663 h 74662"/>
                <a:gd name="connsiteX11" fmla="*/ 0 w 61013"/>
                <a:gd name="connsiteY11" fmla="*/ 0 h 74662"/>
                <a:gd name="connsiteX12" fmla="*/ 22699 w 61013"/>
                <a:gd name="connsiteY12" fmla="*/ 0 h 746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61013" h="74662">
                  <a:moveTo>
                    <a:pt x="22699" y="0"/>
                  </a:moveTo>
                  <a:lnTo>
                    <a:pt x="22699" y="44768"/>
                  </a:lnTo>
                  <a:lnTo>
                    <a:pt x="33196" y="44768"/>
                  </a:lnTo>
                  <a:cubicBezTo>
                    <a:pt x="37684" y="44768"/>
                    <a:pt x="41689" y="42135"/>
                    <a:pt x="43470" y="38018"/>
                  </a:cubicBezTo>
                  <a:lnTo>
                    <a:pt x="55784" y="9643"/>
                  </a:lnTo>
                  <a:lnTo>
                    <a:pt x="61013" y="11906"/>
                  </a:lnTo>
                  <a:lnTo>
                    <a:pt x="48700" y="40280"/>
                  </a:lnTo>
                  <a:cubicBezTo>
                    <a:pt x="46029" y="46474"/>
                    <a:pt x="39946" y="50443"/>
                    <a:pt x="33196" y="50443"/>
                  </a:cubicBezTo>
                  <a:lnTo>
                    <a:pt x="22699" y="50443"/>
                  </a:lnTo>
                  <a:lnTo>
                    <a:pt x="22699" y="74663"/>
                  </a:lnTo>
                  <a:lnTo>
                    <a:pt x="0" y="74663"/>
                  </a:lnTo>
                  <a:lnTo>
                    <a:pt x="0" y="0"/>
                  </a:lnTo>
                  <a:lnTo>
                    <a:pt x="22699" y="0"/>
                  </a:lnTo>
                  <a:close/>
                </a:path>
              </a:pathLst>
            </a:custGeom>
            <a:solidFill>
              <a:srgbClr val="CA8A04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8" name="Freihandform: Form 197">
              <a:extLst>
                <a:ext uri="{FF2B5EF4-FFF2-40B4-BE49-F238E27FC236}">
                  <a16:creationId xmlns:a16="http://schemas.microsoft.com/office/drawing/2014/main" id="{72A638B6-1883-6E99-0249-A99BD3CE9F31}"/>
                </a:ext>
              </a:extLst>
            </p:cNvPr>
            <p:cNvSpPr/>
            <p:nvPr/>
          </p:nvSpPr>
          <p:spPr>
            <a:xfrm>
              <a:off x="8142012" y="5048876"/>
              <a:ext cx="632471" cy="310917"/>
            </a:xfrm>
            <a:custGeom>
              <a:avLst/>
              <a:gdLst>
                <a:gd name="connsiteX0" fmla="*/ 18545 w 161008"/>
                <a:gd name="connsiteY0" fmla="*/ 0 h 79150"/>
                <a:gd name="connsiteX1" fmla="*/ 83861 w 161008"/>
                <a:gd name="connsiteY1" fmla="*/ 0 h 79150"/>
                <a:gd name="connsiteX2" fmla="*/ 96435 w 161008"/>
                <a:gd name="connsiteY2" fmla="*/ 7752 h 79150"/>
                <a:gd name="connsiteX3" fmla="*/ 99995 w 161008"/>
                <a:gd name="connsiteY3" fmla="*/ 14873 h 79150"/>
                <a:gd name="connsiteX4" fmla="*/ 112569 w 161008"/>
                <a:gd name="connsiteY4" fmla="*/ 22625 h 79150"/>
                <a:gd name="connsiteX5" fmla="*/ 132746 w 161008"/>
                <a:gd name="connsiteY5" fmla="*/ 22625 h 79150"/>
                <a:gd name="connsiteX6" fmla="*/ 161009 w 161008"/>
                <a:gd name="connsiteY6" fmla="*/ 50888 h 79150"/>
                <a:gd name="connsiteX7" fmla="*/ 132746 w 161008"/>
                <a:gd name="connsiteY7" fmla="*/ 79151 h 79150"/>
                <a:gd name="connsiteX8" fmla="*/ 80857 w 161008"/>
                <a:gd name="connsiteY8" fmla="*/ 79151 h 79150"/>
                <a:gd name="connsiteX9" fmla="*/ 51110 w 161008"/>
                <a:gd name="connsiteY9" fmla="*/ 59085 h 79150"/>
                <a:gd name="connsiteX10" fmla="*/ 46326 w 161008"/>
                <a:gd name="connsiteY10" fmla="*/ 47290 h 79150"/>
                <a:gd name="connsiteX11" fmla="*/ 31082 w 161008"/>
                <a:gd name="connsiteY11" fmla="*/ 37016 h 79150"/>
                <a:gd name="connsiteX12" fmla="*/ 18508 w 161008"/>
                <a:gd name="connsiteY12" fmla="*/ 37016 h 79150"/>
                <a:gd name="connsiteX13" fmla="*/ 0 w 161008"/>
                <a:gd name="connsiteY13" fmla="*/ 18508 h 79150"/>
                <a:gd name="connsiteX14" fmla="*/ 18508 w 161008"/>
                <a:gd name="connsiteY14" fmla="*/ 0 h 79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61008" h="79150">
                  <a:moveTo>
                    <a:pt x="18545" y="0"/>
                  </a:moveTo>
                  <a:lnTo>
                    <a:pt x="83861" y="0"/>
                  </a:lnTo>
                  <a:cubicBezTo>
                    <a:pt x="89165" y="0"/>
                    <a:pt x="94024" y="3004"/>
                    <a:pt x="96435" y="7752"/>
                  </a:cubicBezTo>
                  <a:lnTo>
                    <a:pt x="99995" y="14873"/>
                  </a:lnTo>
                  <a:cubicBezTo>
                    <a:pt x="102369" y="19621"/>
                    <a:pt x="107228" y="22625"/>
                    <a:pt x="112569" y="22625"/>
                  </a:cubicBezTo>
                  <a:lnTo>
                    <a:pt x="132746" y="22625"/>
                  </a:lnTo>
                  <a:cubicBezTo>
                    <a:pt x="148361" y="22625"/>
                    <a:pt x="161009" y="35273"/>
                    <a:pt x="161009" y="50888"/>
                  </a:cubicBezTo>
                  <a:cubicBezTo>
                    <a:pt x="161009" y="66503"/>
                    <a:pt x="148361" y="79151"/>
                    <a:pt x="132746" y="79151"/>
                  </a:cubicBezTo>
                  <a:lnTo>
                    <a:pt x="80857" y="79151"/>
                  </a:lnTo>
                  <a:cubicBezTo>
                    <a:pt x="67764" y="79151"/>
                    <a:pt x="56006" y="71213"/>
                    <a:pt x="51110" y="59085"/>
                  </a:cubicBezTo>
                  <a:lnTo>
                    <a:pt x="46326" y="47290"/>
                  </a:lnTo>
                  <a:cubicBezTo>
                    <a:pt x="43803" y="41059"/>
                    <a:pt x="37795" y="37016"/>
                    <a:pt x="31082" y="37016"/>
                  </a:cubicBezTo>
                  <a:lnTo>
                    <a:pt x="18508" y="37016"/>
                  </a:lnTo>
                  <a:cubicBezTo>
                    <a:pt x="8271" y="37016"/>
                    <a:pt x="0" y="28745"/>
                    <a:pt x="0" y="18508"/>
                  </a:cubicBezTo>
                  <a:cubicBezTo>
                    <a:pt x="0" y="8271"/>
                    <a:pt x="8271" y="0"/>
                    <a:pt x="18508" y="0"/>
                  </a:cubicBezTo>
                </a:path>
              </a:pathLst>
            </a:custGeom>
            <a:solidFill>
              <a:srgbClr val="53832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B8890330-97F2-FBE3-3036-62715BBDD7DB}"/>
              </a:ext>
            </a:extLst>
          </p:cNvPr>
          <p:cNvGrpSpPr/>
          <p:nvPr/>
        </p:nvGrpSpPr>
        <p:grpSpPr>
          <a:xfrm>
            <a:off x="3657600" y="4108164"/>
            <a:ext cx="1608339" cy="936276"/>
            <a:chOff x="7561984" y="3505200"/>
            <a:chExt cx="2393720" cy="1393476"/>
          </a:xfrm>
        </p:grpSpPr>
        <p:sp>
          <p:nvSpPr>
            <p:cNvPr id="48" name="Freihandform: Form 47">
              <a:extLst>
                <a:ext uri="{FF2B5EF4-FFF2-40B4-BE49-F238E27FC236}">
                  <a16:creationId xmlns:a16="http://schemas.microsoft.com/office/drawing/2014/main" id="{F63ED327-7D94-ADBD-1A95-A824EED3CDD8}"/>
                </a:ext>
              </a:extLst>
            </p:cNvPr>
            <p:cNvSpPr/>
            <p:nvPr/>
          </p:nvSpPr>
          <p:spPr>
            <a:xfrm flipH="1">
              <a:off x="8520012" y="3698727"/>
              <a:ext cx="1435692" cy="1199949"/>
            </a:xfrm>
            <a:custGeom>
              <a:avLst/>
              <a:gdLst>
                <a:gd name="connsiteX0" fmla="*/ 0 w 215717"/>
                <a:gd name="connsiteY0" fmla="*/ 0 h 180296"/>
                <a:gd name="connsiteX1" fmla="*/ 215717 w 215717"/>
                <a:gd name="connsiteY1" fmla="*/ 0 h 180296"/>
                <a:gd name="connsiteX2" fmla="*/ 215717 w 215717"/>
                <a:gd name="connsiteY2" fmla="*/ 180296 h 180296"/>
                <a:gd name="connsiteX3" fmla="*/ 0 w 215717"/>
                <a:gd name="connsiteY3" fmla="*/ 180296 h 180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5717" h="180296">
                  <a:moveTo>
                    <a:pt x="0" y="0"/>
                  </a:moveTo>
                  <a:lnTo>
                    <a:pt x="215717" y="0"/>
                  </a:lnTo>
                  <a:lnTo>
                    <a:pt x="215717" y="180296"/>
                  </a:lnTo>
                  <a:lnTo>
                    <a:pt x="0" y="180296"/>
                  </a:lnTo>
                  <a:close/>
                </a:path>
              </a:pathLst>
            </a:custGeom>
            <a:solidFill>
              <a:srgbClr val="F2DEC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9" name="Freihandform: Form 48">
              <a:extLst>
                <a:ext uri="{FF2B5EF4-FFF2-40B4-BE49-F238E27FC236}">
                  <a16:creationId xmlns:a16="http://schemas.microsoft.com/office/drawing/2014/main" id="{7C685A16-4430-3D96-8B56-6FC9520DA717}"/>
                </a:ext>
              </a:extLst>
            </p:cNvPr>
            <p:cNvSpPr/>
            <p:nvPr/>
          </p:nvSpPr>
          <p:spPr>
            <a:xfrm flipH="1">
              <a:off x="9437560" y="4385228"/>
              <a:ext cx="90347" cy="171803"/>
            </a:xfrm>
            <a:custGeom>
              <a:avLst/>
              <a:gdLst>
                <a:gd name="connsiteX0" fmla="*/ 0 w 13575"/>
                <a:gd name="connsiteY0" fmla="*/ 0 h 25814"/>
                <a:gd name="connsiteX1" fmla="*/ 13575 w 13575"/>
                <a:gd name="connsiteY1" fmla="*/ 0 h 25814"/>
                <a:gd name="connsiteX2" fmla="*/ 13575 w 13575"/>
                <a:gd name="connsiteY2" fmla="*/ 25815 h 25814"/>
                <a:gd name="connsiteX3" fmla="*/ 0 w 13575"/>
                <a:gd name="connsiteY3" fmla="*/ 25815 h 25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25814">
                  <a:moveTo>
                    <a:pt x="0" y="0"/>
                  </a:moveTo>
                  <a:lnTo>
                    <a:pt x="13575" y="0"/>
                  </a:lnTo>
                  <a:lnTo>
                    <a:pt x="13575" y="25815"/>
                  </a:lnTo>
                  <a:lnTo>
                    <a:pt x="0" y="25815"/>
                  </a:lnTo>
                  <a:close/>
                </a:path>
              </a:pathLst>
            </a:custGeom>
            <a:solidFill>
              <a:srgbClr val="90909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0" name="Freihandform: Form 49">
              <a:extLst>
                <a:ext uri="{FF2B5EF4-FFF2-40B4-BE49-F238E27FC236}">
                  <a16:creationId xmlns:a16="http://schemas.microsoft.com/office/drawing/2014/main" id="{D49EDF59-FCE7-0495-75F8-AA4B50035A17}"/>
                </a:ext>
              </a:extLst>
            </p:cNvPr>
            <p:cNvSpPr/>
            <p:nvPr/>
          </p:nvSpPr>
          <p:spPr>
            <a:xfrm flipH="1">
              <a:off x="8937929" y="4385228"/>
              <a:ext cx="90347" cy="171803"/>
            </a:xfrm>
            <a:custGeom>
              <a:avLst/>
              <a:gdLst>
                <a:gd name="connsiteX0" fmla="*/ 0 w 13575"/>
                <a:gd name="connsiteY0" fmla="*/ 0 h 25814"/>
                <a:gd name="connsiteX1" fmla="*/ 13575 w 13575"/>
                <a:gd name="connsiteY1" fmla="*/ 0 h 25814"/>
                <a:gd name="connsiteX2" fmla="*/ 13575 w 13575"/>
                <a:gd name="connsiteY2" fmla="*/ 25815 h 25814"/>
                <a:gd name="connsiteX3" fmla="*/ 0 w 13575"/>
                <a:gd name="connsiteY3" fmla="*/ 25815 h 25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25814">
                  <a:moveTo>
                    <a:pt x="0" y="0"/>
                  </a:moveTo>
                  <a:lnTo>
                    <a:pt x="13575" y="0"/>
                  </a:lnTo>
                  <a:lnTo>
                    <a:pt x="13575" y="25815"/>
                  </a:lnTo>
                  <a:lnTo>
                    <a:pt x="0" y="25815"/>
                  </a:lnTo>
                  <a:close/>
                </a:path>
              </a:pathLst>
            </a:custGeom>
            <a:solidFill>
              <a:srgbClr val="90909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1" name="Freihandform: Form 50">
              <a:extLst>
                <a:ext uri="{FF2B5EF4-FFF2-40B4-BE49-F238E27FC236}">
                  <a16:creationId xmlns:a16="http://schemas.microsoft.com/office/drawing/2014/main" id="{1FD9C9DC-7D48-EAD6-8877-FD53E6194EA6}"/>
                </a:ext>
              </a:extLst>
            </p:cNvPr>
            <p:cNvSpPr/>
            <p:nvPr/>
          </p:nvSpPr>
          <p:spPr>
            <a:xfrm flipH="1">
              <a:off x="8520012" y="3698727"/>
              <a:ext cx="1435692" cy="570718"/>
            </a:xfrm>
            <a:custGeom>
              <a:avLst/>
              <a:gdLst>
                <a:gd name="connsiteX0" fmla="*/ 0 w 215717"/>
                <a:gd name="connsiteY0" fmla="*/ 0 h 85752"/>
                <a:gd name="connsiteX1" fmla="*/ 215717 w 215717"/>
                <a:gd name="connsiteY1" fmla="*/ 0 h 85752"/>
                <a:gd name="connsiteX2" fmla="*/ 215717 w 215717"/>
                <a:gd name="connsiteY2" fmla="*/ 85753 h 85752"/>
                <a:gd name="connsiteX3" fmla="*/ 0 w 215717"/>
                <a:gd name="connsiteY3" fmla="*/ 85753 h 85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5717" h="85752">
                  <a:moveTo>
                    <a:pt x="0" y="0"/>
                  </a:moveTo>
                  <a:lnTo>
                    <a:pt x="215717" y="0"/>
                  </a:lnTo>
                  <a:lnTo>
                    <a:pt x="215717" y="85753"/>
                  </a:lnTo>
                  <a:lnTo>
                    <a:pt x="0" y="85753"/>
                  </a:lnTo>
                  <a:close/>
                </a:path>
              </a:pathLst>
            </a:custGeom>
            <a:solidFill>
              <a:srgbClr val="0059B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grpSp>
          <p:nvGrpSpPr>
            <p:cNvPr id="52" name="Grafik 7">
              <a:extLst>
                <a:ext uri="{FF2B5EF4-FFF2-40B4-BE49-F238E27FC236}">
                  <a16:creationId xmlns:a16="http://schemas.microsoft.com/office/drawing/2014/main" id="{AEA7323E-361D-3BAB-1AC9-E37AB576C396}"/>
                </a:ext>
              </a:extLst>
            </p:cNvPr>
            <p:cNvGrpSpPr/>
            <p:nvPr/>
          </p:nvGrpSpPr>
          <p:grpSpPr>
            <a:xfrm flipH="1">
              <a:off x="8690339" y="3909052"/>
              <a:ext cx="1095033" cy="265366"/>
              <a:chOff x="-2067772" y="5400911"/>
              <a:chExt cx="164532" cy="39872"/>
            </a:xfrm>
            <a:solidFill>
              <a:srgbClr val="1195EB"/>
            </a:solidFill>
          </p:grpSpPr>
          <p:sp>
            <p:nvSpPr>
              <p:cNvPr id="53" name="Freihandform: Form 52">
                <a:extLst>
                  <a:ext uri="{FF2B5EF4-FFF2-40B4-BE49-F238E27FC236}">
                    <a16:creationId xmlns:a16="http://schemas.microsoft.com/office/drawing/2014/main" id="{ED5A9681-D74D-7A50-8595-A634CD9C0C48}"/>
                  </a:ext>
                </a:extLst>
              </p:cNvPr>
              <p:cNvSpPr/>
              <p:nvPr/>
            </p:nvSpPr>
            <p:spPr>
              <a:xfrm>
                <a:off x="-2067772" y="5400911"/>
                <a:ext cx="22587" cy="39872"/>
              </a:xfrm>
              <a:custGeom>
                <a:avLst/>
                <a:gdLst>
                  <a:gd name="connsiteX0" fmla="*/ 22588 w 22587"/>
                  <a:gd name="connsiteY0" fmla="*/ 39872 h 39872"/>
                  <a:gd name="connsiteX1" fmla="*/ 0 w 22587"/>
                  <a:gd name="connsiteY1" fmla="*/ 39872 h 39872"/>
                  <a:gd name="connsiteX2" fmla="*/ 0 w 22587"/>
                  <a:gd name="connsiteY2" fmla="*/ 11275 h 39872"/>
                  <a:gd name="connsiteX3" fmla="*/ 11275 w 22587"/>
                  <a:gd name="connsiteY3" fmla="*/ 0 h 39872"/>
                  <a:gd name="connsiteX4" fmla="*/ 22551 w 22587"/>
                  <a:gd name="connsiteY4" fmla="*/ 11275 h 39872"/>
                  <a:gd name="connsiteX5" fmla="*/ 22551 w 22587"/>
                  <a:gd name="connsiteY5" fmla="*/ 39872 h 39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587" h="39872">
                    <a:moveTo>
                      <a:pt x="22588" y="39872"/>
                    </a:moveTo>
                    <a:lnTo>
                      <a:pt x="0" y="39872"/>
                    </a:lnTo>
                    <a:lnTo>
                      <a:pt x="0" y="11275"/>
                    </a:lnTo>
                    <a:cubicBezTo>
                      <a:pt x="0" y="5044"/>
                      <a:pt x="5044" y="0"/>
                      <a:pt x="11275" y="0"/>
                    </a:cubicBezTo>
                    <a:cubicBezTo>
                      <a:pt x="17507" y="0"/>
                      <a:pt x="22551" y="5044"/>
                      <a:pt x="22551" y="11275"/>
                    </a:cubicBezTo>
                    <a:lnTo>
                      <a:pt x="22551" y="39872"/>
                    </a:lnTo>
                    <a:close/>
                  </a:path>
                </a:pathLst>
              </a:custGeom>
              <a:solidFill>
                <a:srgbClr val="1195EB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4" name="Freihandform: Form 53">
                <a:extLst>
                  <a:ext uri="{FF2B5EF4-FFF2-40B4-BE49-F238E27FC236}">
                    <a16:creationId xmlns:a16="http://schemas.microsoft.com/office/drawing/2014/main" id="{7615A563-DD2F-D9E6-B569-EE1C4C60A1D7}"/>
                  </a:ext>
                </a:extLst>
              </p:cNvPr>
              <p:cNvSpPr/>
              <p:nvPr/>
            </p:nvSpPr>
            <p:spPr>
              <a:xfrm>
                <a:off x="-1996782" y="5400911"/>
                <a:ext cx="22587" cy="39872"/>
              </a:xfrm>
              <a:custGeom>
                <a:avLst/>
                <a:gdLst>
                  <a:gd name="connsiteX0" fmla="*/ 22588 w 22587"/>
                  <a:gd name="connsiteY0" fmla="*/ 39872 h 39872"/>
                  <a:gd name="connsiteX1" fmla="*/ 0 w 22587"/>
                  <a:gd name="connsiteY1" fmla="*/ 39872 h 39872"/>
                  <a:gd name="connsiteX2" fmla="*/ 0 w 22587"/>
                  <a:gd name="connsiteY2" fmla="*/ 11275 h 39872"/>
                  <a:gd name="connsiteX3" fmla="*/ 11275 w 22587"/>
                  <a:gd name="connsiteY3" fmla="*/ 0 h 39872"/>
                  <a:gd name="connsiteX4" fmla="*/ 22551 w 22587"/>
                  <a:gd name="connsiteY4" fmla="*/ 11275 h 39872"/>
                  <a:gd name="connsiteX5" fmla="*/ 22551 w 22587"/>
                  <a:gd name="connsiteY5" fmla="*/ 39872 h 39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587" h="39872">
                    <a:moveTo>
                      <a:pt x="22588" y="39872"/>
                    </a:moveTo>
                    <a:lnTo>
                      <a:pt x="0" y="39872"/>
                    </a:lnTo>
                    <a:lnTo>
                      <a:pt x="0" y="11275"/>
                    </a:lnTo>
                    <a:cubicBezTo>
                      <a:pt x="0" y="5044"/>
                      <a:pt x="5044" y="0"/>
                      <a:pt x="11275" y="0"/>
                    </a:cubicBezTo>
                    <a:cubicBezTo>
                      <a:pt x="17507" y="0"/>
                      <a:pt x="22551" y="5044"/>
                      <a:pt x="22551" y="11275"/>
                    </a:cubicBezTo>
                    <a:lnTo>
                      <a:pt x="22551" y="39872"/>
                    </a:lnTo>
                    <a:close/>
                  </a:path>
                </a:pathLst>
              </a:custGeom>
              <a:solidFill>
                <a:srgbClr val="1195EB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  <p:sp>
            <p:nvSpPr>
              <p:cNvPr id="55" name="Freihandform: Form 54">
                <a:extLst>
                  <a:ext uri="{FF2B5EF4-FFF2-40B4-BE49-F238E27FC236}">
                    <a16:creationId xmlns:a16="http://schemas.microsoft.com/office/drawing/2014/main" id="{934E406E-23EC-6FF5-A68F-FA288D3866D2}"/>
                  </a:ext>
                </a:extLst>
              </p:cNvPr>
              <p:cNvSpPr/>
              <p:nvPr/>
            </p:nvSpPr>
            <p:spPr>
              <a:xfrm>
                <a:off x="-1925828" y="5400911"/>
                <a:ext cx="22587" cy="39872"/>
              </a:xfrm>
              <a:custGeom>
                <a:avLst/>
                <a:gdLst>
                  <a:gd name="connsiteX0" fmla="*/ 22588 w 22587"/>
                  <a:gd name="connsiteY0" fmla="*/ 39872 h 39872"/>
                  <a:gd name="connsiteX1" fmla="*/ 0 w 22587"/>
                  <a:gd name="connsiteY1" fmla="*/ 39872 h 39872"/>
                  <a:gd name="connsiteX2" fmla="*/ 0 w 22587"/>
                  <a:gd name="connsiteY2" fmla="*/ 11275 h 39872"/>
                  <a:gd name="connsiteX3" fmla="*/ 11275 w 22587"/>
                  <a:gd name="connsiteY3" fmla="*/ 0 h 39872"/>
                  <a:gd name="connsiteX4" fmla="*/ 22551 w 22587"/>
                  <a:gd name="connsiteY4" fmla="*/ 11275 h 39872"/>
                  <a:gd name="connsiteX5" fmla="*/ 22551 w 22587"/>
                  <a:gd name="connsiteY5" fmla="*/ 39872 h 398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2587" h="39872">
                    <a:moveTo>
                      <a:pt x="22588" y="39872"/>
                    </a:moveTo>
                    <a:lnTo>
                      <a:pt x="0" y="39872"/>
                    </a:lnTo>
                    <a:lnTo>
                      <a:pt x="0" y="11275"/>
                    </a:lnTo>
                    <a:cubicBezTo>
                      <a:pt x="0" y="5044"/>
                      <a:pt x="5044" y="0"/>
                      <a:pt x="11275" y="0"/>
                    </a:cubicBezTo>
                    <a:cubicBezTo>
                      <a:pt x="17507" y="0"/>
                      <a:pt x="22551" y="5044"/>
                      <a:pt x="22551" y="11275"/>
                    </a:cubicBezTo>
                    <a:lnTo>
                      <a:pt x="22551" y="39872"/>
                    </a:lnTo>
                    <a:close/>
                  </a:path>
                </a:pathLst>
              </a:custGeom>
              <a:solidFill>
                <a:srgbClr val="1195EB"/>
              </a:solidFill>
              <a:ln w="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/>
              </a:p>
            </p:txBody>
          </p:sp>
        </p:grpSp>
        <p:sp>
          <p:nvSpPr>
            <p:cNvPr id="56" name="Freihandform: Form 55">
              <a:extLst>
                <a:ext uri="{FF2B5EF4-FFF2-40B4-BE49-F238E27FC236}">
                  <a16:creationId xmlns:a16="http://schemas.microsoft.com/office/drawing/2014/main" id="{49746F19-0CBB-2687-701F-475CA52E80AB}"/>
                </a:ext>
              </a:extLst>
            </p:cNvPr>
            <p:cNvSpPr/>
            <p:nvPr/>
          </p:nvSpPr>
          <p:spPr>
            <a:xfrm flipH="1">
              <a:off x="9665162" y="4002607"/>
              <a:ext cx="90347" cy="171803"/>
            </a:xfrm>
            <a:custGeom>
              <a:avLst/>
              <a:gdLst>
                <a:gd name="connsiteX0" fmla="*/ 0 w 13575"/>
                <a:gd name="connsiteY0" fmla="*/ 0 h 25814"/>
                <a:gd name="connsiteX1" fmla="*/ 13575 w 13575"/>
                <a:gd name="connsiteY1" fmla="*/ 0 h 25814"/>
                <a:gd name="connsiteX2" fmla="*/ 13575 w 13575"/>
                <a:gd name="connsiteY2" fmla="*/ 25815 h 25814"/>
                <a:gd name="connsiteX3" fmla="*/ 0 w 13575"/>
                <a:gd name="connsiteY3" fmla="*/ 25815 h 25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25814">
                  <a:moveTo>
                    <a:pt x="0" y="0"/>
                  </a:moveTo>
                  <a:lnTo>
                    <a:pt x="13575" y="0"/>
                  </a:lnTo>
                  <a:lnTo>
                    <a:pt x="13575" y="25815"/>
                  </a:lnTo>
                  <a:lnTo>
                    <a:pt x="0" y="25815"/>
                  </a:lnTo>
                  <a:close/>
                </a:path>
              </a:pathLst>
            </a:custGeom>
            <a:solidFill>
              <a:srgbClr val="5B5B5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7" name="Freihandform: Form 56">
              <a:extLst>
                <a:ext uri="{FF2B5EF4-FFF2-40B4-BE49-F238E27FC236}">
                  <a16:creationId xmlns:a16="http://schemas.microsoft.com/office/drawing/2014/main" id="{4B81DDFF-C40D-342F-E87B-C91DA371E937}"/>
                </a:ext>
              </a:extLst>
            </p:cNvPr>
            <p:cNvSpPr/>
            <p:nvPr/>
          </p:nvSpPr>
          <p:spPr>
            <a:xfrm flipH="1">
              <a:off x="9192685" y="4002607"/>
              <a:ext cx="90347" cy="171803"/>
            </a:xfrm>
            <a:custGeom>
              <a:avLst/>
              <a:gdLst>
                <a:gd name="connsiteX0" fmla="*/ 0 w 13575"/>
                <a:gd name="connsiteY0" fmla="*/ 0 h 25814"/>
                <a:gd name="connsiteX1" fmla="*/ 13575 w 13575"/>
                <a:gd name="connsiteY1" fmla="*/ 0 h 25814"/>
                <a:gd name="connsiteX2" fmla="*/ 13575 w 13575"/>
                <a:gd name="connsiteY2" fmla="*/ 25815 h 25814"/>
                <a:gd name="connsiteX3" fmla="*/ 0 w 13575"/>
                <a:gd name="connsiteY3" fmla="*/ 25815 h 25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25814">
                  <a:moveTo>
                    <a:pt x="0" y="0"/>
                  </a:moveTo>
                  <a:lnTo>
                    <a:pt x="13575" y="0"/>
                  </a:lnTo>
                  <a:lnTo>
                    <a:pt x="13575" y="25815"/>
                  </a:lnTo>
                  <a:lnTo>
                    <a:pt x="0" y="25815"/>
                  </a:lnTo>
                  <a:close/>
                </a:path>
              </a:pathLst>
            </a:custGeom>
            <a:solidFill>
              <a:srgbClr val="5B5B5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8" name="Freihandform: Form 57">
              <a:extLst>
                <a:ext uri="{FF2B5EF4-FFF2-40B4-BE49-F238E27FC236}">
                  <a16:creationId xmlns:a16="http://schemas.microsoft.com/office/drawing/2014/main" id="{5935E377-1469-B545-B60C-D51298CB4A3E}"/>
                </a:ext>
              </a:extLst>
            </p:cNvPr>
            <p:cNvSpPr/>
            <p:nvPr/>
          </p:nvSpPr>
          <p:spPr>
            <a:xfrm flipH="1">
              <a:off x="8720209" y="4002607"/>
              <a:ext cx="90347" cy="171803"/>
            </a:xfrm>
            <a:custGeom>
              <a:avLst/>
              <a:gdLst>
                <a:gd name="connsiteX0" fmla="*/ 0 w 13575"/>
                <a:gd name="connsiteY0" fmla="*/ 0 h 25814"/>
                <a:gd name="connsiteX1" fmla="*/ 13575 w 13575"/>
                <a:gd name="connsiteY1" fmla="*/ 0 h 25814"/>
                <a:gd name="connsiteX2" fmla="*/ 13575 w 13575"/>
                <a:gd name="connsiteY2" fmla="*/ 25815 h 25814"/>
                <a:gd name="connsiteX3" fmla="*/ 0 w 13575"/>
                <a:gd name="connsiteY3" fmla="*/ 25815 h 25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25814">
                  <a:moveTo>
                    <a:pt x="0" y="0"/>
                  </a:moveTo>
                  <a:lnTo>
                    <a:pt x="13575" y="0"/>
                  </a:lnTo>
                  <a:lnTo>
                    <a:pt x="13575" y="25815"/>
                  </a:lnTo>
                  <a:lnTo>
                    <a:pt x="0" y="25815"/>
                  </a:lnTo>
                  <a:close/>
                </a:path>
              </a:pathLst>
            </a:custGeom>
            <a:solidFill>
              <a:srgbClr val="5B5B5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59" name="Freihandform: Form 58">
              <a:extLst>
                <a:ext uri="{FF2B5EF4-FFF2-40B4-BE49-F238E27FC236}">
                  <a16:creationId xmlns:a16="http://schemas.microsoft.com/office/drawing/2014/main" id="{4DB9C708-874B-7D94-10CD-E204862D0AE4}"/>
                </a:ext>
              </a:extLst>
            </p:cNvPr>
            <p:cNvSpPr/>
            <p:nvPr/>
          </p:nvSpPr>
          <p:spPr>
            <a:xfrm flipH="1">
              <a:off x="9437560" y="4385228"/>
              <a:ext cx="90347" cy="55786"/>
            </a:xfrm>
            <a:custGeom>
              <a:avLst/>
              <a:gdLst>
                <a:gd name="connsiteX0" fmla="*/ 0 w 13575"/>
                <a:gd name="connsiteY0" fmla="*/ 0 h 8382"/>
                <a:gd name="connsiteX1" fmla="*/ 13575 w 13575"/>
                <a:gd name="connsiteY1" fmla="*/ 0 h 8382"/>
                <a:gd name="connsiteX2" fmla="*/ 13575 w 13575"/>
                <a:gd name="connsiteY2" fmla="*/ 8382 h 8382"/>
                <a:gd name="connsiteX3" fmla="*/ 0 w 13575"/>
                <a:gd name="connsiteY3" fmla="*/ 8382 h 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8382">
                  <a:moveTo>
                    <a:pt x="0" y="0"/>
                  </a:moveTo>
                  <a:lnTo>
                    <a:pt x="13575" y="0"/>
                  </a:lnTo>
                  <a:lnTo>
                    <a:pt x="13575" y="8382"/>
                  </a:lnTo>
                  <a:lnTo>
                    <a:pt x="0" y="8382"/>
                  </a:lnTo>
                  <a:close/>
                </a:path>
              </a:pathLst>
            </a:custGeom>
            <a:solidFill>
              <a:srgbClr val="5B5B5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0" name="Freihandform: Form 59">
              <a:extLst>
                <a:ext uri="{FF2B5EF4-FFF2-40B4-BE49-F238E27FC236}">
                  <a16:creationId xmlns:a16="http://schemas.microsoft.com/office/drawing/2014/main" id="{9C3EA285-041F-150A-590F-E8692E49108A}"/>
                </a:ext>
              </a:extLst>
            </p:cNvPr>
            <p:cNvSpPr/>
            <p:nvPr/>
          </p:nvSpPr>
          <p:spPr>
            <a:xfrm flipH="1">
              <a:off x="8937929" y="4385228"/>
              <a:ext cx="90347" cy="55786"/>
            </a:xfrm>
            <a:custGeom>
              <a:avLst/>
              <a:gdLst>
                <a:gd name="connsiteX0" fmla="*/ 0 w 13575"/>
                <a:gd name="connsiteY0" fmla="*/ 0 h 8382"/>
                <a:gd name="connsiteX1" fmla="*/ 13575 w 13575"/>
                <a:gd name="connsiteY1" fmla="*/ 0 h 8382"/>
                <a:gd name="connsiteX2" fmla="*/ 13575 w 13575"/>
                <a:gd name="connsiteY2" fmla="*/ 8382 h 8382"/>
                <a:gd name="connsiteX3" fmla="*/ 0 w 13575"/>
                <a:gd name="connsiteY3" fmla="*/ 8382 h 8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8382">
                  <a:moveTo>
                    <a:pt x="0" y="0"/>
                  </a:moveTo>
                  <a:lnTo>
                    <a:pt x="13575" y="0"/>
                  </a:lnTo>
                  <a:lnTo>
                    <a:pt x="13575" y="8382"/>
                  </a:lnTo>
                  <a:lnTo>
                    <a:pt x="0" y="8382"/>
                  </a:lnTo>
                  <a:close/>
                </a:path>
              </a:pathLst>
            </a:custGeom>
            <a:solidFill>
              <a:srgbClr val="5B5B5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1" name="Freihandform: Form 60">
              <a:extLst>
                <a:ext uri="{FF2B5EF4-FFF2-40B4-BE49-F238E27FC236}">
                  <a16:creationId xmlns:a16="http://schemas.microsoft.com/office/drawing/2014/main" id="{21EED757-6F9D-B2F6-0941-A0E7CBF6586B}"/>
                </a:ext>
              </a:extLst>
            </p:cNvPr>
            <p:cNvSpPr/>
            <p:nvPr/>
          </p:nvSpPr>
          <p:spPr>
            <a:xfrm flipH="1">
              <a:off x="9665162" y="4002607"/>
              <a:ext cx="90347" cy="47147"/>
            </a:xfrm>
            <a:custGeom>
              <a:avLst/>
              <a:gdLst>
                <a:gd name="connsiteX0" fmla="*/ 0 w 13575"/>
                <a:gd name="connsiteY0" fmla="*/ 0 h 7084"/>
                <a:gd name="connsiteX1" fmla="*/ 13575 w 13575"/>
                <a:gd name="connsiteY1" fmla="*/ 0 h 7084"/>
                <a:gd name="connsiteX2" fmla="*/ 13575 w 13575"/>
                <a:gd name="connsiteY2" fmla="*/ 7084 h 7084"/>
                <a:gd name="connsiteX3" fmla="*/ 0 w 13575"/>
                <a:gd name="connsiteY3" fmla="*/ 7084 h 7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7084">
                  <a:moveTo>
                    <a:pt x="0" y="0"/>
                  </a:moveTo>
                  <a:lnTo>
                    <a:pt x="13575" y="0"/>
                  </a:lnTo>
                  <a:lnTo>
                    <a:pt x="13575" y="7084"/>
                  </a:lnTo>
                  <a:lnTo>
                    <a:pt x="0" y="7084"/>
                  </a:lnTo>
                  <a:close/>
                </a:path>
              </a:pathLst>
            </a:custGeom>
            <a:solidFill>
              <a:srgbClr val="42424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2" name="Freihandform: Form 61">
              <a:extLst>
                <a:ext uri="{FF2B5EF4-FFF2-40B4-BE49-F238E27FC236}">
                  <a16:creationId xmlns:a16="http://schemas.microsoft.com/office/drawing/2014/main" id="{27845940-2849-2346-6FC1-7A00467D7D64}"/>
                </a:ext>
              </a:extLst>
            </p:cNvPr>
            <p:cNvSpPr/>
            <p:nvPr/>
          </p:nvSpPr>
          <p:spPr>
            <a:xfrm flipH="1">
              <a:off x="9192685" y="4002607"/>
              <a:ext cx="90347" cy="47147"/>
            </a:xfrm>
            <a:custGeom>
              <a:avLst/>
              <a:gdLst>
                <a:gd name="connsiteX0" fmla="*/ 0 w 13575"/>
                <a:gd name="connsiteY0" fmla="*/ 0 h 7084"/>
                <a:gd name="connsiteX1" fmla="*/ 13575 w 13575"/>
                <a:gd name="connsiteY1" fmla="*/ 0 h 7084"/>
                <a:gd name="connsiteX2" fmla="*/ 13575 w 13575"/>
                <a:gd name="connsiteY2" fmla="*/ 7084 h 7084"/>
                <a:gd name="connsiteX3" fmla="*/ 0 w 13575"/>
                <a:gd name="connsiteY3" fmla="*/ 7084 h 7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7084">
                  <a:moveTo>
                    <a:pt x="0" y="0"/>
                  </a:moveTo>
                  <a:lnTo>
                    <a:pt x="13575" y="0"/>
                  </a:lnTo>
                  <a:lnTo>
                    <a:pt x="13575" y="7084"/>
                  </a:lnTo>
                  <a:lnTo>
                    <a:pt x="0" y="7084"/>
                  </a:lnTo>
                  <a:close/>
                </a:path>
              </a:pathLst>
            </a:custGeom>
            <a:solidFill>
              <a:srgbClr val="42424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3" name="Freihandform: Form 62">
              <a:extLst>
                <a:ext uri="{FF2B5EF4-FFF2-40B4-BE49-F238E27FC236}">
                  <a16:creationId xmlns:a16="http://schemas.microsoft.com/office/drawing/2014/main" id="{045F9F93-8346-27D6-ABF4-B8B623059355}"/>
                </a:ext>
              </a:extLst>
            </p:cNvPr>
            <p:cNvSpPr/>
            <p:nvPr/>
          </p:nvSpPr>
          <p:spPr>
            <a:xfrm flipH="1">
              <a:off x="8720209" y="4002607"/>
              <a:ext cx="90347" cy="47147"/>
            </a:xfrm>
            <a:custGeom>
              <a:avLst/>
              <a:gdLst>
                <a:gd name="connsiteX0" fmla="*/ 0 w 13575"/>
                <a:gd name="connsiteY0" fmla="*/ 0 h 7084"/>
                <a:gd name="connsiteX1" fmla="*/ 13575 w 13575"/>
                <a:gd name="connsiteY1" fmla="*/ 0 h 7084"/>
                <a:gd name="connsiteX2" fmla="*/ 13575 w 13575"/>
                <a:gd name="connsiteY2" fmla="*/ 7084 h 7084"/>
                <a:gd name="connsiteX3" fmla="*/ 0 w 13575"/>
                <a:gd name="connsiteY3" fmla="*/ 7084 h 7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7084">
                  <a:moveTo>
                    <a:pt x="0" y="0"/>
                  </a:moveTo>
                  <a:lnTo>
                    <a:pt x="13575" y="0"/>
                  </a:lnTo>
                  <a:lnTo>
                    <a:pt x="13575" y="7084"/>
                  </a:lnTo>
                  <a:lnTo>
                    <a:pt x="0" y="7084"/>
                  </a:lnTo>
                  <a:close/>
                </a:path>
              </a:pathLst>
            </a:custGeom>
            <a:solidFill>
              <a:srgbClr val="424242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5" name="Freihandform: Form 64">
              <a:extLst>
                <a:ext uri="{FF2B5EF4-FFF2-40B4-BE49-F238E27FC236}">
                  <a16:creationId xmlns:a16="http://schemas.microsoft.com/office/drawing/2014/main" id="{E1644D37-D5BC-01D8-E82E-9003F704647A}"/>
                </a:ext>
              </a:extLst>
            </p:cNvPr>
            <p:cNvSpPr/>
            <p:nvPr/>
          </p:nvSpPr>
          <p:spPr>
            <a:xfrm flipH="1">
              <a:off x="7602961" y="3539202"/>
              <a:ext cx="917298" cy="1359473"/>
            </a:xfrm>
            <a:custGeom>
              <a:avLst/>
              <a:gdLst>
                <a:gd name="connsiteX0" fmla="*/ 137828 w 137827"/>
                <a:gd name="connsiteY0" fmla="*/ 204266 h 204265"/>
                <a:gd name="connsiteX1" fmla="*/ 0 w 137827"/>
                <a:gd name="connsiteY1" fmla="*/ 204266 h 204265"/>
                <a:gd name="connsiteX2" fmla="*/ 0 w 137827"/>
                <a:gd name="connsiteY2" fmla="*/ 83499 h 204265"/>
                <a:gd name="connsiteX3" fmla="*/ 64389 w 137827"/>
                <a:gd name="connsiteY3" fmla="*/ 2198 h 204265"/>
                <a:gd name="connsiteX4" fmla="*/ 73439 w 137827"/>
                <a:gd name="connsiteY4" fmla="*/ 2198 h 204265"/>
                <a:gd name="connsiteX5" fmla="*/ 137828 w 137827"/>
                <a:gd name="connsiteY5" fmla="*/ 83499 h 204265"/>
                <a:gd name="connsiteX6" fmla="*/ 137828 w 137827"/>
                <a:gd name="connsiteY6" fmla="*/ 204266 h 2042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827" h="204265">
                  <a:moveTo>
                    <a:pt x="137828" y="204266"/>
                  </a:moveTo>
                  <a:lnTo>
                    <a:pt x="0" y="204266"/>
                  </a:lnTo>
                  <a:lnTo>
                    <a:pt x="0" y="83499"/>
                  </a:lnTo>
                  <a:lnTo>
                    <a:pt x="64389" y="2198"/>
                  </a:lnTo>
                  <a:cubicBezTo>
                    <a:pt x="66688" y="-733"/>
                    <a:pt x="71139" y="-733"/>
                    <a:pt x="73439" y="2198"/>
                  </a:cubicBezTo>
                  <a:lnTo>
                    <a:pt x="137828" y="83499"/>
                  </a:lnTo>
                  <a:lnTo>
                    <a:pt x="137828" y="204266"/>
                  </a:lnTo>
                  <a:close/>
                </a:path>
              </a:pathLst>
            </a:custGeom>
            <a:solidFill>
              <a:srgbClr val="F6E8D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6" name="Freihandform: Form 65">
              <a:extLst>
                <a:ext uri="{FF2B5EF4-FFF2-40B4-BE49-F238E27FC236}">
                  <a16:creationId xmlns:a16="http://schemas.microsoft.com/office/drawing/2014/main" id="{1782A767-974D-C38A-8420-7FF4FEE17B12}"/>
                </a:ext>
              </a:extLst>
            </p:cNvPr>
            <p:cNvSpPr/>
            <p:nvPr/>
          </p:nvSpPr>
          <p:spPr>
            <a:xfrm flipH="1">
              <a:off x="7603207" y="4094431"/>
              <a:ext cx="917053" cy="59733"/>
            </a:xfrm>
            <a:custGeom>
              <a:avLst/>
              <a:gdLst>
                <a:gd name="connsiteX0" fmla="*/ 0 w 137790"/>
                <a:gd name="connsiteY0" fmla="*/ 0 h 8975"/>
                <a:gd name="connsiteX1" fmla="*/ 137791 w 137790"/>
                <a:gd name="connsiteY1" fmla="*/ 0 h 8975"/>
                <a:gd name="connsiteX2" fmla="*/ 137791 w 137790"/>
                <a:gd name="connsiteY2" fmla="*/ 8976 h 8975"/>
                <a:gd name="connsiteX3" fmla="*/ 0 w 137790"/>
                <a:gd name="connsiteY3" fmla="*/ 8976 h 8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790" h="8975">
                  <a:moveTo>
                    <a:pt x="0" y="0"/>
                  </a:moveTo>
                  <a:lnTo>
                    <a:pt x="137791" y="0"/>
                  </a:lnTo>
                  <a:lnTo>
                    <a:pt x="137791" y="8976"/>
                  </a:lnTo>
                  <a:lnTo>
                    <a:pt x="0" y="8976"/>
                  </a:lnTo>
                  <a:close/>
                </a:path>
              </a:pathLst>
            </a:custGeom>
            <a:solidFill>
              <a:srgbClr val="AD865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7" name="Freihandform: Form 66">
              <a:extLst>
                <a:ext uri="{FF2B5EF4-FFF2-40B4-BE49-F238E27FC236}">
                  <a16:creationId xmlns:a16="http://schemas.microsoft.com/office/drawing/2014/main" id="{B4CE427A-169E-3750-FA6E-37789B4197C4}"/>
                </a:ext>
              </a:extLst>
            </p:cNvPr>
            <p:cNvSpPr/>
            <p:nvPr/>
          </p:nvSpPr>
          <p:spPr>
            <a:xfrm flipH="1">
              <a:off x="7602961" y="4499515"/>
              <a:ext cx="914337" cy="59733"/>
            </a:xfrm>
            <a:custGeom>
              <a:avLst/>
              <a:gdLst>
                <a:gd name="connsiteX0" fmla="*/ 0 w 137382"/>
                <a:gd name="connsiteY0" fmla="*/ 0 h 8975"/>
                <a:gd name="connsiteX1" fmla="*/ 137382 w 137382"/>
                <a:gd name="connsiteY1" fmla="*/ 0 h 8975"/>
                <a:gd name="connsiteX2" fmla="*/ 137382 w 137382"/>
                <a:gd name="connsiteY2" fmla="*/ 8976 h 8975"/>
                <a:gd name="connsiteX3" fmla="*/ 0 w 137382"/>
                <a:gd name="connsiteY3" fmla="*/ 8976 h 89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382" h="8975">
                  <a:moveTo>
                    <a:pt x="0" y="0"/>
                  </a:moveTo>
                  <a:lnTo>
                    <a:pt x="137382" y="0"/>
                  </a:lnTo>
                  <a:lnTo>
                    <a:pt x="137382" y="8976"/>
                  </a:lnTo>
                  <a:lnTo>
                    <a:pt x="0" y="8976"/>
                  </a:lnTo>
                  <a:close/>
                </a:path>
              </a:pathLst>
            </a:custGeom>
            <a:solidFill>
              <a:srgbClr val="AD865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8" name="Freihandform: Form 67">
              <a:extLst>
                <a:ext uri="{FF2B5EF4-FFF2-40B4-BE49-F238E27FC236}">
                  <a16:creationId xmlns:a16="http://schemas.microsoft.com/office/drawing/2014/main" id="{BE86FDE8-7F37-E0FF-C53D-432F6812B545}"/>
                </a:ext>
              </a:extLst>
            </p:cNvPr>
            <p:cNvSpPr/>
            <p:nvPr/>
          </p:nvSpPr>
          <p:spPr>
            <a:xfrm flipH="1">
              <a:off x="7937689" y="4125040"/>
              <a:ext cx="59733" cy="391999"/>
            </a:xfrm>
            <a:custGeom>
              <a:avLst/>
              <a:gdLst>
                <a:gd name="connsiteX0" fmla="*/ 0 w 8975"/>
                <a:gd name="connsiteY0" fmla="*/ 0 h 58899"/>
                <a:gd name="connsiteX1" fmla="*/ 8976 w 8975"/>
                <a:gd name="connsiteY1" fmla="*/ 0 h 58899"/>
                <a:gd name="connsiteX2" fmla="*/ 8976 w 8975"/>
                <a:gd name="connsiteY2" fmla="*/ 58900 h 58899"/>
                <a:gd name="connsiteX3" fmla="*/ 0 w 8975"/>
                <a:gd name="connsiteY3" fmla="*/ 58900 h 588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975" h="58899">
                  <a:moveTo>
                    <a:pt x="0" y="0"/>
                  </a:moveTo>
                  <a:lnTo>
                    <a:pt x="8976" y="0"/>
                  </a:lnTo>
                  <a:lnTo>
                    <a:pt x="8976" y="58900"/>
                  </a:lnTo>
                  <a:lnTo>
                    <a:pt x="0" y="58900"/>
                  </a:lnTo>
                  <a:close/>
                </a:path>
              </a:pathLst>
            </a:custGeom>
            <a:solidFill>
              <a:srgbClr val="AD865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69" name="Freihandform: Form 68">
              <a:extLst>
                <a:ext uri="{FF2B5EF4-FFF2-40B4-BE49-F238E27FC236}">
                  <a16:creationId xmlns:a16="http://schemas.microsoft.com/office/drawing/2014/main" id="{DFB3C3F5-C1A7-3369-A4CF-AD85723AB563}"/>
                </a:ext>
              </a:extLst>
            </p:cNvPr>
            <p:cNvSpPr/>
            <p:nvPr/>
          </p:nvSpPr>
          <p:spPr>
            <a:xfrm flipH="1">
              <a:off x="7602873" y="4112455"/>
              <a:ext cx="353817" cy="426554"/>
            </a:xfrm>
            <a:custGeom>
              <a:avLst/>
              <a:gdLst>
                <a:gd name="connsiteX0" fmla="*/ 46585 w 53162"/>
                <a:gd name="connsiteY0" fmla="*/ 64092 h 64091"/>
                <a:gd name="connsiteX1" fmla="*/ 0 w 53162"/>
                <a:gd name="connsiteY1" fmla="*/ 5601 h 64091"/>
                <a:gd name="connsiteX2" fmla="*/ 7010 w 53162"/>
                <a:gd name="connsiteY2" fmla="*/ 0 h 64091"/>
                <a:gd name="connsiteX3" fmla="*/ 52928 w 53162"/>
                <a:gd name="connsiteY3" fmla="*/ 57638 h 64091"/>
                <a:gd name="connsiteX4" fmla="*/ 52742 w 53162"/>
                <a:gd name="connsiteY4" fmla="*/ 59196 h 64091"/>
                <a:gd name="connsiteX5" fmla="*/ 46585 w 53162"/>
                <a:gd name="connsiteY5" fmla="*/ 64092 h 64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3162" h="64091">
                  <a:moveTo>
                    <a:pt x="46585" y="64092"/>
                  </a:moveTo>
                  <a:lnTo>
                    <a:pt x="0" y="5601"/>
                  </a:lnTo>
                  <a:lnTo>
                    <a:pt x="7010" y="0"/>
                  </a:lnTo>
                  <a:lnTo>
                    <a:pt x="52928" y="57638"/>
                  </a:lnTo>
                  <a:cubicBezTo>
                    <a:pt x="53299" y="58120"/>
                    <a:pt x="53225" y="58825"/>
                    <a:pt x="52742" y="59196"/>
                  </a:cubicBezTo>
                  <a:lnTo>
                    <a:pt x="46585" y="64092"/>
                  </a:lnTo>
                  <a:close/>
                </a:path>
              </a:pathLst>
            </a:custGeom>
            <a:solidFill>
              <a:srgbClr val="AD865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0" name="Freihandform: Form 69">
              <a:extLst>
                <a:ext uri="{FF2B5EF4-FFF2-40B4-BE49-F238E27FC236}">
                  <a16:creationId xmlns:a16="http://schemas.microsoft.com/office/drawing/2014/main" id="{04E4584F-3E41-77C9-2ECA-0C7D75FD7E42}"/>
                </a:ext>
              </a:extLst>
            </p:cNvPr>
            <p:cNvSpPr/>
            <p:nvPr/>
          </p:nvSpPr>
          <p:spPr>
            <a:xfrm flipH="1">
              <a:off x="8016430" y="3784387"/>
              <a:ext cx="90347" cy="171803"/>
            </a:xfrm>
            <a:custGeom>
              <a:avLst/>
              <a:gdLst>
                <a:gd name="connsiteX0" fmla="*/ 0 w 13575"/>
                <a:gd name="connsiteY0" fmla="*/ 0 h 25814"/>
                <a:gd name="connsiteX1" fmla="*/ 13575 w 13575"/>
                <a:gd name="connsiteY1" fmla="*/ 0 h 25814"/>
                <a:gd name="connsiteX2" fmla="*/ 13575 w 13575"/>
                <a:gd name="connsiteY2" fmla="*/ 25815 h 25814"/>
                <a:gd name="connsiteX3" fmla="*/ 0 w 13575"/>
                <a:gd name="connsiteY3" fmla="*/ 25815 h 25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25814">
                  <a:moveTo>
                    <a:pt x="0" y="0"/>
                  </a:moveTo>
                  <a:lnTo>
                    <a:pt x="13575" y="0"/>
                  </a:lnTo>
                  <a:lnTo>
                    <a:pt x="13575" y="25815"/>
                  </a:lnTo>
                  <a:lnTo>
                    <a:pt x="0" y="25815"/>
                  </a:lnTo>
                  <a:close/>
                </a:path>
              </a:pathLst>
            </a:custGeom>
            <a:solidFill>
              <a:srgbClr val="90909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1" name="Freihandform: Form 70">
              <a:extLst>
                <a:ext uri="{FF2B5EF4-FFF2-40B4-BE49-F238E27FC236}">
                  <a16:creationId xmlns:a16="http://schemas.microsoft.com/office/drawing/2014/main" id="{9B03CC90-0B28-1B5A-AD43-30E554F3701D}"/>
                </a:ext>
              </a:extLst>
            </p:cNvPr>
            <p:cNvSpPr/>
            <p:nvPr/>
          </p:nvSpPr>
          <p:spPr>
            <a:xfrm flipH="1">
              <a:off x="8273650" y="4237111"/>
              <a:ext cx="90347" cy="171803"/>
            </a:xfrm>
            <a:custGeom>
              <a:avLst/>
              <a:gdLst>
                <a:gd name="connsiteX0" fmla="*/ 0 w 13575"/>
                <a:gd name="connsiteY0" fmla="*/ 0 h 25814"/>
                <a:gd name="connsiteX1" fmla="*/ 13575 w 13575"/>
                <a:gd name="connsiteY1" fmla="*/ 0 h 25814"/>
                <a:gd name="connsiteX2" fmla="*/ 13575 w 13575"/>
                <a:gd name="connsiteY2" fmla="*/ 25815 h 25814"/>
                <a:gd name="connsiteX3" fmla="*/ 0 w 13575"/>
                <a:gd name="connsiteY3" fmla="*/ 25815 h 25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25814">
                  <a:moveTo>
                    <a:pt x="0" y="0"/>
                  </a:moveTo>
                  <a:lnTo>
                    <a:pt x="13575" y="0"/>
                  </a:lnTo>
                  <a:lnTo>
                    <a:pt x="13575" y="25815"/>
                  </a:lnTo>
                  <a:lnTo>
                    <a:pt x="0" y="25815"/>
                  </a:lnTo>
                  <a:close/>
                </a:path>
              </a:pathLst>
            </a:custGeom>
            <a:solidFill>
              <a:srgbClr val="90909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2" name="Freihandform: Form 71">
              <a:extLst>
                <a:ext uri="{FF2B5EF4-FFF2-40B4-BE49-F238E27FC236}">
                  <a16:creationId xmlns:a16="http://schemas.microsoft.com/office/drawing/2014/main" id="{4A3A0363-F148-37C5-3D0D-E9DAA754F9B3}"/>
                </a:ext>
              </a:extLst>
            </p:cNvPr>
            <p:cNvSpPr/>
            <p:nvPr/>
          </p:nvSpPr>
          <p:spPr>
            <a:xfrm flipH="1">
              <a:off x="7747364" y="4637508"/>
              <a:ext cx="90347" cy="171803"/>
            </a:xfrm>
            <a:custGeom>
              <a:avLst/>
              <a:gdLst>
                <a:gd name="connsiteX0" fmla="*/ 0 w 13575"/>
                <a:gd name="connsiteY0" fmla="*/ 0 h 25814"/>
                <a:gd name="connsiteX1" fmla="*/ 13575 w 13575"/>
                <a:gd name="connsiteY1" fmla="*/ 0 h 25814"/>
                <a:gd name="connsiteX2" fmla="*/ 13575 w 13575"/>
                <a:gd name="connsiteY2" fmla="*/ 25815 h 25814"/>
                <a:gd name="connsiteX3" fmla="*/ 0 w 13575"/>
                <a:gd name="connsiteY3" fmla="*/ 25815 h 25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25814">
                  <a:moveTo>
                    <a:pt x="0" y="0"/>
                  </a:moveTo>
                  <a:lnTo>
                    <a:pt x="13575" y="0"/>
                  </a:lnTo>
                  <a:lnTo>
                    <a:pt x="13575" y="25815"/>
                  </a:lnTo>
                  <a:lnTo>
                    <a:pt x="0" y="25815"/>
                  </a:lnTo>
                  <a:close/>
                </a:path>
              </a:pathLst>
            </a:custGeom>
            <a:solidFill>
              <a:srgbClr val="90909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3" name="Freihandform: Form 72">
              <a:extLst>
                <a:ext uri="{FF2B5EF4-FFF2-40B4-BE49-F238E27FC236}">
                  <a16:creationId xmlns:a16="http://schemas.microsoft.com/office/drawing/2014/main" id="{F700DB23-FD67-2313-6D26-6E0156A02AD3}"/>
                </a:ext>
              </a:extLst>
            </p:cNvPr>
            <p:cNvSpPr/>
            <p:nvPr/>
          </p:nvSpPr>
          <p:spPr>
            <a:xfrm flipH="1">
              <a:off x="7561984" y="3505200"/>
              <a:ext cx="999254" cy="616880"/>
            </a:xfrm>
            <a:custGeom>
              <a:avLst/>
              <a:gdLst>
                <a:gd name="connsiteX0" fmla="*/ 146025 w 150141"/>
                <a:gd name="connsiteY0" fmla="*/ 92689 h 92688"/>
                <a:gd name="connsiteX1" fmla="*/ 77816 w 150141"/>
                <a:gd name="connsiteY1" fmla="*/ 6565 h 92688"/>
                <a:gd name="connsiteX2" fmla="*/ 75071 w 150141"/>
                <a:gd name="connsiteY2" fmla="*/ 5230 h 92688"/>
                <a:gd name="connsiteX3" fmla="*/ 72326 w 150141"/>
                <a:gd name="connsiteY3" fmla="*/ 6565 h 92688"/>
                <a:gd name="connsiteX4" fmla="*/ 4117 w 150141"/>
                <a:gd name="connsiteY4" fmla="*/ 92689 h 92688"/>
                <a:gd name="connsiteX5" fmla="*/ 0 w 150141"/>
                <a:gd name="connsiteY5" fmla="*/ 89425 h 92688"/>
                <a:gd name="connsiteX6" fmla="*/ 68209 w 150141"/>
                <a:gd name="connsiteY6" fmla="*/ 3301 h 92688"/>
                <a:gd name="connsiteX7" fmla="*/ 75071 w 150141"/>
                <a:gd name="connsiteY7" fmla="*/ 0 h 92688"/>
                <a:gd name="connsiteX8" fmla="*/ 81933 w 150141"/>
                <a:gd name="connsiteY8" fmla="*/ 3301 h 92688"/>
                <a:gd name="connsiteX9" fmla="*/ 150142 w 150141"/>
                <a:gd name="connsiteY9" fmla="*/ 89425 h 92688"/>
                <a:gd name="connsiteX10" fmla="*/ 146025 w 150141"/>
                <a:gd name="connsiteY10" fmla="*/ 92689 h 92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0141" h="92688">
                  <a:moveTo>
                    <a:pt x="146025" y="92689"/>
                  </a:moveTo>
                  <a:lnTo>
                    <a:pt x="77816" y="6565"/>
                  </a:lnTo>
                  <a:cubicBezTo>
                    <a:pt x="77148" y="5712"/>
                    <a:pt x="76147" y="5230"/>
                    <a:pt x="75071" y="5230"/>
                  </a:cubicBezTo>
                  <a:cubicBezTo>
                    <a:pt x="73995" y="5230"/>
                    <a:pt x="72994" y="5712"/>
                    <a:pt x="72326" y="6565"/>
                  </a:cubicBezTo>
                  <a:lnTo>
                    <a:pt x="4117" y="92689"/>
                  </a:lnTo>
                  <a:lnTo>
                    <a:pt x="0" y="89425"/>
                  </a:lnTo>
                  <a:lnTo>
                    <a:pt x="68209" y="3301"/>
                  </a:lnTo>
                  <a:cubicBezTo>
                    <a:pt x="69878" y="1187"/>
                    <a:pt x="72363" y="0"/>
                    <a:pt x="75071" y="0"/>
                  </a:cubicBezTo>
                  <a:cubicBezTo>
                    <a:pt x="77779" y="0"/>
                    <a:pt x="80264" y="1224"/>
                    <a:pt x="81933" y="3301"/>
                  </a:cubicBezTo>
                  <a:lnTo>
                    <a:pt x="150142" y="89425"/>
                  </a:lnTo>
                  <a:lnTo>
                    <a:pt x="146025" y="92689"/>
                  </a:lnTo>
                  <a:close/>
                </a:path>
              </a:pathLst>
            </a:custGeom>
            <a:solidFill>
              <a:srgbClr val="0059B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4" name="Freihandform: Form 73">
              <a:extLst>
                <a:ext uri="{FF2B5EF4-FFF2-40B4-BE49-F238E27FC236}">
                  <a16:creationId xmlns:a16="http://schemas.microsoft.com/office/drawing/2014/main" id="{5D0A731A-E3F4-BD1A-C36C-7254B4B6BCD6}"/>
                </a:ext>
              </a:extLst>
            </p:cNvPr>
            <p:cNvSpPr/>
            <p:nvPr/>
          </p:nvSpPr>
          <p:spPr>
            <a:xfrm flipH="1">
              <a:off x="8016430" y="3784387"/>
              <a:ext cx="90347" cy="44185"/>
            </a:xfrm>
            <a:custGeom>
              <a:avLst/>
              <a:gdLst>
                <a:gd name="connsiteX0" fmla="*/ 0 w 13575"/>
                <a:gd name="connsiteY0" fmla="*/ 0 h 6639"/>
                <a:gd name="connsiteX1" fmla="*/ 13575 w 13575"/>
                <a:gd name="connsiteY1" fmla="*/ 0 h 6639"/>
                <a:gd name="connsiteX2" fmla="*/ 13575 w 13575"/>
                <a:gd name="connsiteY2" fmla="*/ 6639 h 6639"/>
                <a:gd name="connsiteX3" fmla="*/ 0 w 13575"/>
                <a:gd name="connsiteY3" fmla="*/ 6639 h 6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6639">
                  <a:moveTo>
                    <a:pt x="0" y="0"/>
                  </a:moveTo>
                  <a:lnTo>
                    <a:pt x="13575" y="0"/>
                  </a:lnTo>
                  <a:lnTo>
                    <a:pt x="13575" y="6639"/>
                  </a:lnTo>
                  <a:lnTo>
                    <a:pt x="0" y="6639"/>
                  </a:lnTo>
                  <a:close/>
                </a:path>
              </a:pathLst>
            </a:custGeom>
            <a:solidFill>
              <a:srgbClr val="5B5B5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5" name="Freihandform: Form 74">
              <a:extLst>
                <a:ext uri="{FF2B5EF4-FFF2-40B4-BE49-F238E27FC236}">
                  <a16:creationId xmlns:a16="http://schemas.microsoft.com/office/drawing/2014/main" id="{9FA2F370-9346-9742-FEAE-6C19FC33EA2C}"/>
                </a:ext>
              </a:extLst>
            </p:cNvPr>
            <p:cNvSpPr/>
            <p:nvPr/>
          </p:nvSpPr>
          <p:spPr>
            <a:xfrm flipH="1">
              <a:off x="8273650" y="4237111"/>
              <a:ext cx="90347" cy="44185"/>
            </a:xfrm>
            <a:custGeom>
              <a:avLst/>
              <a:gdLst>
                <a:gd name="connsiteX0" fmla="*/ 0 w 13575"/>
                <a:gd name="connsiteY0" fmla="*/ 0 h 6639"/>
                <a:gd name="connsiteX1" fmla="*/ 13575 w 13575"/>
                <a:gd name="connsiteY1" fmla="*/ 0 h 6639"/>
                <a:gd name="connsiteX2" fmla="*/ 13575 w 13575"/>
                <a:gd name="connsiteY2" fmla="*/ 6639 h 6639"/>
                <a:gd name="connsiteX3" fmla="*/ 0 w 13575"/>
                <a:gd name="connsiteY3" fmla="*/ 6639 h 6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6639">
                  <a:moveTo>
                    <a:pt x="0" y="0"/>
                  </a:moveTo>
                  <a:lnTo>
                    <a:pt x="13575" y="0"/>
                  </a:lnTo>
                  <a:lnTo>
                    <a:pt x="13575" y="6639"/>
                  </a:lnTo>
                  <a:lnTo>
                    <a:pt x="0" y="6639"/>
                  </a:lnTo>
                  <a:close/>
                </a:path>
              </a:pathLst>
            </a:custGeom>
            <a:solidFill>
              <a:srgbClr val="5B5B5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76" name="Freihandform: Form 75">
              <a:extLst>
                <a:ext uri="{FF2B5EF4-FFF2-40B4-BE49-F238E27FC236}">
                  <a16:creationId xmlns:a16="http://schemas.microsoft.com/office/drawing/2014/main" id="{3A6ADDCA-AEAC-3E1E-5BCF-6B46D0B9935C}"/>
                </a:ext>
              </a:extLst>
            </p:cNvPr>
            <p:cNvSpPr/>
            <p:nvPr/>
          </p:nvSpPr>
          <p:spPr>
            <a:xfrm flipH="1">
              <a:off x="7747364" y="4637508"/>
              <a:ext cx="90347" cy="44185"/>
            </a:xfrm>
            <a:custGeom>
              <a:avLst/>
              <a:gdLst>
                <a:gd name="connsiteX0" fmla="*/ 0 w 13575"/>
                <a:gd name="connsiteY0" fmla="*/ 0 h 6639"/>
                <a:gd name="connsiteX1" fmla="*/ 13575 w 13575"/>
                <a:gd name="connsiteY1" fmla="*/ 0 h 6639"/>
                <a:gd name="connsiteX2" fmla="*/ 13575 w 13575"/>
                <a:gd name="connsiteY2" fmla="*/ 6639 h 6639"/>
                <a:gd name="connsiteX3" fmla="*/ 0 w 13575"/>
                <a:gd name="connsiteY3" fmla="*/ 6639 h 66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6639">
                  <a:moveTo>
                    <a:pt x="0" y="0"/>
                  </a:moveTo>
                  <a:lnTo>
                    <a:pt x="13575" y="0"/>
                  </a:lnTo>
                  <a:lnTo>
                    <a:pt x="13575" y="6639"/>
                  </a:lnTo>
                  <a:lnTo>
                    <a:pt x="0" y="6639"/>
                  </a:lnTo>
                  <a:close/>
                </a:path>
              </a:pathLst>
            </a:custGeom>
            <a:solidFill>
              <a:srgbClr val="5B5B5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272" name="Freihandform: Form 271">
            <a:extLst>
              <a:ext uri="{FF2B5EF4-FFF2-40B4-BE49-F238E27FC236}">
                <a16:creationId xmlns:a16="http://schemas.microsoft.com/office/drawing/2014/main" id="{4EDFA3BF-4C04-3DC6-32ED-0F4FF3F97F04}"/>
              </a:ext>
            </a:extLst>
          </p:cNvPr>
          <p:cNvSpPr/>
          <p:nvPr/>
        </p:nvSpPr>
        <p:spPr>
          <a:xfrm>
            <a:off x="0" y="5033725"/>
            <a:ext cx="5334000" cy="511396"/>
          </a:xfrm>
          <a:custGeom>
            <a:avLst/>
            <a:gdLst>
              <a:gd name="connsiteX0" fmla="*/ 0 w 4363622"/>
              <a:gd name="connsiteY0" fmla="*/ 0 h 511396"/>
              <a:gd name="connsiteX1" fmla="*/ 4363622 w 4363622"/>
              <a:gd name="connsiteY1" fmla="*/ 0 h 511396"/>
              <a:gd name="connsiteX2" fmla="*/ 4363622 w 4363622"/>
              <a:gd name="connsiteY2" fmla="*/ 511396 h 511396"/>
              <a:gd name="connsiteX3" fmla="*/ 0 w 4363622"/>
              <a:gd name="connsiteY3" fmla="*/ 511396 h 5113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3622" h="511396">
                <a:moveTo>
                  <a:pt x="0" y="0"/>
                </a:moveTo>
                <a:lnTo>
                  <a:pt x="4363622" y="0"/>
                </a:lnTo>
                <a:lnTo>
                  <a:pt x="4363622" y="511396"/>
                </a:lnTo>
                <a:lnTo>
                  <a:pt x="0" y="511396"/>
                </a:lnTo>
                <a:close/>
              </a:path>
            </a:pathLst>
          </a:custGeom>
          <a:solidFill>
            <a:srgbClr val="AD8653"/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82" name="Freihandform: Form 81">
            <a:extLst>
              <a:ext uri="{FF2B5EF4-FFF2-40B4-BE49-F238E27FC236}">
                <a16:creationId xmlns:a16="http://schemas.microsoft.com/office/drawing/2014/main" id="{B6E9FBC1-C0CF-B36E-A8E5-A38F8549D812}"/>
              </a:ext>
            </a:extLst>
          </p:cNvPr>
          <p:cNvSpPr/>
          <p:nvPr/>
        </p:nvSpPr>
        <p:spPr>
          <a:xfrm>
            <a:off x="6625905" y="4290227"/>
            <a:ext cx="944853" cy="352878"/>
          </a:xfrm>
          <a:custGeom>
            <a:avLst/>
            <a:gdLst>
              <a:gd name="connsiteX0" fmla="*/ 240531 w 240531"/>
              <a:gd name="connsiteY0" fmla="*/ 89833 h 89832"/>
              <a:gd name="connsiteX1" fmla="*/ 0 w 240531"/>
              <a:gd name="connsiteY1" fmla="*/ 89833 h 89832"/>
              <a:gd name="connsiteX2" fmla="*/ 0 w 240531"/>
              <a:gd name="connsiteY2" fmla="*/ 0 h 89832"/>
              <a:gd name="connsiteX3" fmla="*/ 137383 w 240531"/>
              <a:gd name="connsiteY3" fmla="*/ 0 h 89832"/>
              <a:gd name="connsiteX4" fmla="*/ 182040 w 240531"/>
              <a:gd name="connsiteY4" fmla="*/ 20696 h 89832"/>
              <a:gd name="connsiteX5" fmla="*/ 240531 w 240531"/>
              <a:gd name="connsiteY5" fmla="*/ 89833 h 89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0531" h="89832">
                <a:moveTo>
                  <a:pt x="240531" y="89833"/>
                </a:moveTo>
                <a:lnTo>
                  <a:pt x="0" y="89833"/>
                </a:lnTo>
                <a:lnTo>
                  <a:pt x="0" y="0"/>
                </a:lnTo>
                <a:lnTo>
                  <a:pt x="137383" y="0"/>
                </a:lnTo>
                <a:cubicBezTo>
                  <a:pt x="154593" y="0"/>
                  <a:pt x="170912" y="7567"/>
                  <a:pt x="182040" y="20696"/>
                </a:cubicBezTo>
                <a:lnTo>
                  <a:pt x="240531" y="89833"/>
                </a:lnTo>
                <a:close/>
              </a:path>
            </a:pathLst>
          </a:custGeom>
          <a:solidFill>
            <a:srgbClr val="0059B9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3" name="Freihandform: Form 82">
            <a:extLst>
              <a:ext uri="{FF2B5EF4-FFF2-40B4-BE49-F238E27FC236}">
                <a16:creationId xmlns:a16="http://schemas.microsoft.com/office/drawing/2014/main" id="{0683C03D-9426-A1EF-70C2-25225D3FD4EE}"/>
              </a:ext>
            </a:extLst>
          </p:cNvPr>
          <p:cNvSpPr/>
          <p:nvPr/>
        </p:nvSpPr>
        <p:spPr>
          <a:xfrm>
            <a:off x="6625905" y="4643109"/>
            <a:ext cx="944849" cy="778026"/>
          </a:xfrm>
          <a:custGeom>
            <a:avLst/>
            <a:gdLst>
              <a:gd name="connsiteX0" fmla="*/ 0 w 240530"/>
              <a:gd name="connsiteY0" fmla="*/ 0 h 198062"/>
              <a:gd name="connsiteX1" fmla="*/ 240530 w 240530"/>
              <a:gd name="connsiteY1" fmla="*/ 0 h 198062"/>
              <a:gd name="connsiteX2" fmla="*/ 240530 w 240530"/>
              <a:gd name="connsiteY2" fmla="*/ 198062 h 198062"/>
              <a:gd name="connsiteX3" fmla="*/ 0 w 240530"/>
              <a:gd name="connsiteY3" fmla="*/ 198062 h 198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530" h="198062">
                <a:moveTo>
                  <a:pt x="0" y="0"/>
                </a:moveTo>
                <a:lnTo>
                  <a:pt x="240530" y="0"/>
                </a:lnTo>
                <a:lnTo>
                  <a:pt x="240530" y="198062"/>
                </a:lnTo>
                <a:lnTo>
                  <a:pt x="0" y="198062"/>
                </a:lnTo>
                <a:close/>
              </a:path>
            </a:pathLst>
          </a:custGeom>
          <a:solidFill>
            <a:srgbClr val="FEDE8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84" name="Grafik 7">
            <a:extLst>
              <a:ext uri="{FF2B5EF4-FFF2-40B4-BE49-F238E27FC236}">
                <a16:creationId xmlns:a16="http://schemas.microsoft.com/office/drawing/2014/main" id="{3B41EC1D-70A9-D2F8-1F5B-F807D6388721}"/>
              </a:ext>
            </a:extLst>
          </p:cNvPr>
          <p:cNvGrpSpPr/>
          <p:nvPr/>
        </p:nvGrpSpPr>
        <p:grpSpPr>
          <a:xfrm>
            <a:off x="6370643" y="3127265"/>
            <a:ext cx="1053833" cy="2046618"/>
            <a:chOff x="-1519800" y="5164274"/>
            <a:chExt cx="268274" cy="521007"/>
          </a:xfrm>
        </p:grpSpPr>
        <p:sp>
          <p:nvSpPr>
            <p:cNvPr id="85" name="Freihandform: Form 84">
              <a:extLst>
                <a:ext uri="{FF2B5EF4-FFF2-40B4-BE49-F238E27FC236}">
                  <a16:creationId xmlns:a16="http://schemas.microsoft.com/office/drawing/2014/main" id="{7F0C8FDF-0338-E356-F089-85DF5A39F8CF}"/>
                </a:ext>
              </a:extLst>
            </p:cNvPr>
            <p:cNvSpPr/>
            <p:nvPr/>
          </p:nvSpPr>
          <p:spPr>
            <a:xfrm>
              <a:off x="-1340246" y="5597230"/>
              <a:ext cx="16987" cy="81895"/>
            </a:xfrm>
            <a:custGeom>
              <a:avLst/>
              <a:gdLst>
                <a:gd name="connsiteX0" fmla="*/ 16988 w 16987"/>
                <a:gd name="connsiteY0" fmla="*/ 81895 h 81895"/>
                <a:gd name="connsiteX1" fmla="*/ 0 w 16987"/>
                <a:gd name="connsiteY1" fmla="*/ 81895 h 81895"/>
                <a:gd name="connsiteX2" fmla="*/ 0 w 16987"/>
                <a:gd name="connsiteY2" fmla="*/ 8494 h 81895"/>
                <a:gd name="connsiteX3" fmla="*/ 8494 w 16987"/>
                <a:gd name="connsiteY3" fmla="*/ 0 h 81895"/>
                <a:gd name="connsiteX4" fmla="*/ 16988 w 16987"/>
                <a:gd name="connsiteY4" fmla="*/ 8494 h 81895"/>
                <a:gd name="connsiteX5" fmla="*/ 16988 w 16987"/>
                <a:gd name="connsiteY5" fmla="*/ 81895 h 81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987" h="81895">
                  <a:moveTo>
                    <a:pt x="16988" y="81895"/>
                  </a:moveTo>
                  <a:lnTo>
                    <a:pt x="0" y="81895"/>
                  </a:lnTo>
                  <a:lnTo>
                    <a:pt x="0" y="8494"/>
                  </a:lnTo>
                  <a:cubicBezTo>
                    <a:pt x="0" y="3820"/>
                    <a:pt x="3783" y="0"/>
                    <a:pt x="8494" y="0"/>
                  </a:cubicBezTo>
                  <a:cubicBezTo>
                    <a:pt x="13204" y="0"/>
                    <a:pt x="16988" y="3783"/>
                    <a:pt x="16988" y="8494"/>
                  </a:cubicBezTo>
                  <a:lnTo>
                    <a:pt x="16988" y="81895"/>
                  </a:lnTo>
                  <a:close/>
                </a:path>
              </a:pathLst>
            </a:custGeom>
            <a:solidFill>
              <a:srgbClr val="0059B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6" name="Freihandform: Form 85">
              <a:extLst>
                <a:ext uri="{FF2B5EF4-FFF2-40B4-BE49-F238E27FC236}">
                  <a16:creationId xmlns:a16="http://schemas.microsoft.com/office/drawing/2014/main" id="{75F67032-269A-68A9-F023-D3F2FBA3DD5F}"/>
                </a:ext>
              </a:extLst>
            </p:cNvPr>
            <p:cNvSpPr/>
            <p:nvPr/>
          </p:nvSpPr>
          <p:spPr>
            <a:xfrm>
              <a:off x="-1348331" y="5675750"/>
              <a:ext cx="33195" cy="9532"/>
            </a:xfrm>
            <a:custGeom>
              <a:avLst/>
              <a:gdLst>
                <a:gd name="connsiteX0" fmla="*/ 33159 w 33195"/>
                <a:gd name="connsiteY0" fmla="*/ 9532 h 9532"/>
                <a:gd name="connsiteX1" fmla="*/ 0 w 33195"/>
                <a:gd name="connsiteY1" fmla="*/ 9532 h 9532"/>
                <a:gd name="connsiteX2" fmla="*/ 0 w 33195"/>
                <a:gd name="connsiteY2" fmla="*/ 4228 h 9532"/>
                <a:gd name="connsiteX3" fmla="*/ 4228 w 33195"/>
                <a:gd name="connsiteY3" fmla="*/ 0 h 9532"/>
                <a:gd name="connsiteX4" fmla="*/ 28967 w 33195"/>
                <a:gd name="connsiteY4" fmla="*/ 0 h 9532"/>
                <a:gd name="connsiteX5" fmla="*/ 33196 w 33195"/>
                <a:gd name="connsiteY5" fmla="*/ 4228 h 9532"/>
                <a:gd name="connsiteX6" fmla="*/ 33196 w 33195"/>
                <a:gd name="connsiteY6" fmla="*/ 9532 h 9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195" h="9532">
                  <a:moveTo>
                    <a:pt x="33159" y="9532"/>
                  </a:moveTo>
                  <a:lnTo>
                    <a:pt x="0" y="9532"/>
                  </a:lnTo>
                  <a:lnTo>
                    <a:pt x="0" y="4228"/>
                  </a:lnTo>
                  <a:cubicBezTo>
                    <a:pt x="0" y="1892"/>
                    <a:pt x="1892" y="0"/>
                    <a:pt x="4228" y="0"/>
                  </a:cubicBezTo>
                  <a:lnTo>
                    <a:pt x="28967" y="0"/>
                  </a:lnTo>
                  <a:cubicBezTo>
                    <a:pt x="31304" y="0"/>
                    <a:pt x="33196" y="1892"/>
                    <a:pt x="33196" y="4228"/>
                  </a:cubicBezTo>
                  <a:lnTo>
                    <a:pt x="33196" y="9532"/>
                  </a:lnTo>
                  <a:close/>
                </a:path>
              </a:pathLst>
            </a:custGeom>
            <a:solidFill>
              <a:srgbClr val="FEFEF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7" name="Freihandform: Form 86">
              <a:extLst>
                <a:ext uri="{FF2B5EF4-FFF2-40B4-BE49-F238E27FC236}">
                  <a16:creationId xmlns:a16="http://schemas.microsoft.com/office/drawing/2014/main" id="{8E465F31-283C-76F9-AB03-6375AA71690C}"/>
                </a:ext>
              </a:extLst>
            </p:cNvPr>
            <p:cNvSpPr/>
            <p:nvPr/>
          </p:nvSpPr>
          <p:spPr>
            <a:xfrm>
              <a:off x="-1403819" y="5597230"/>
              <a:ext cx="16987" cy="81895"/>
            </a:xfrm>
            <a:custGeom>
              <a:avLst/>
              <a:gdLst>
                <a:gd name="connsiteX0" fmla="*/ 16988 w 16987"/>
                <a:gd name="connsiteY0" fmla="*/ 81895 h 81895"/>
                <a:gd name="connsiteX1" fmla="*/ 0 w 16987"/>
                <a:gd name="connsiteY1" fmla="*/ 81895 h 81895"/>
                <a:gd name="connsiteX2" fmla="*/ 0 w 16987"/>
                <a:gd name="connsiteY2" fmla="*/ 8494 h 81895"/>
                <a:gd name="connsiteX3" fmla="*/ 8494 w 16987"/>
                <a:gd name="connsiteY3" fmla="*/ 0 h 81895"/>
                <a:gd name="connsiteX4" fmla="*/ 16988 w 16987"/>
                <a:gd name="connsiteY4" fmla="*/ 8494 h 81895"/>
                <a:gd name="connsiteX5" fmla="*/ 16988 w 16987"/>
                <a:gd name="connsiteY5" fmla="*/ 81895 h 81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987" h="81895">
                  <a:moveTo>
                    <a:pt x="16988" y="81895"/>
                  </a:moveTo>
                  <a:lnTo>
                    <a:pt x="0" y="81895"/>
                  </a:lnTo>
                  <a:lnTo>
                    <a:pt x="0" y="8494"/>
                  </a:lnTo>
                  <a:cubicBezTo>
                    <a:pt x="0" y="3820"/>
                    <a:pt x="3783" y="0"/>
                    <a:pt x="8494" y="0"/>
                  </a:cubicBezTo>
                  <a:cubicBezTo>
                    <a:pt x="13204" y="0"/>
                    <a:pt x="16988" y="3783"/>
                    <a:pt x="16988" y="8494"/>
                  </a:cubicBezTo>
                  <a:lnTo>
                    <a:pt x="16988" y="81895"/>
                  </a:lnTo>
                  <a:close/>
                </a:path>
              </a:pathLst>
            </a:custGeom>
            <a:solidFill>
              <a:srgbClr val="0059B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8" name="Freihandform: Form 87">
              <a:extLst>
                <a:ext uri="{FF2B5EF4-FFF2-40B4-BE49-F238E27FC236}">
                  <a16:creationId xmlns:a16="http://schemas.microsoft.com/office/drawing/2014/main" id="{1F3991C4-C7DE-ABF9-5CC2-066B9BEF4107}"/>
                </a:ext>
              </a:extLst>
            </p:cNvPr>
            <p:cNvSpPr/>
            <p:nvPr/>
          </p:nvSpPr>
          <p:spPr>
            <a:xfrm>
              <a:off x="-1411904" y="5675750"/>
              <a:ext cx="33158" cy="9532"/>
            </a:xfrm>
            <a:custGeom>
              <a:avLst/>
              <a:gdLst>
                <a:gd name="connsiteX0" fmla="*/ 33159 w 33158"/>
                <a:gd name="connsiteY0" fmla="*/ 9532 h 9532"/>
                <a:gd name="connsiteX1" fmla="*/ 0 w 33158"/>
                <a:gd name="connsiteY1" fmla="*/ 9532 h 9532"/>
                <a:gd name="connsiteX2" fmla="*/ 0 w 33158"/>
                <a:gd name="connsiteY2" fmla="*/ 4228 h 9532"/>
                <a:gd name="connsiteX3" fmla="*/ 4228 w 33158"/>
                <a:gd name="connsiteY3" fmla="*/ 0 h 9532"/>
                <a:gd name="connsiteX4" fmla="*/ 28930 w 33158"/>
                <a:gd name="connsiteY4" fmla="*/ 0 h 9532"/>
                <a:gd name="connsiteX5" fmla="*/ 33159 w 33158"/>
                <a:gd name="connsiteY5" fmla="*/ 4228 h 9532"/>
                <a:gd name="connsiteX6" fmla="*/ 33159 w 33158"/>
                <a:gd name="connsiteY6" fmla="*/ 9532 h 9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158" h="9532">
                  <a:moveTo>
                    <a:pt x="33159" y="9532"/>
                  </a:moveTo>
                  <a:lnTo>
                    <a:pt x="0" y="9532"/>
                  </a:lnTo>
                  <a:lnTo>
                    <a:pt x="0" y="4228"/>
                  </a:lnTo>
                  <a:cubicBezTo>
                    <a:pt x="0" y="1892"/>
                    <a:pt x="1892" y="0"/>
                    <a:pt x="4228" y="0"/>
                  </a:cubicBezTo>
                  <a:lnTo>
                    <a:pt x="28930" y="0"/>
                  </a:lnTo>
                  <a:cubicBezTo>
                    <a:pt x="31267" y="0"/>
                    <a:pt x="33159" y="1892"/>
                    <a:pt x="33159" y="4228"/>
                  </a:cubicBezTo>
                  <a:lnTo>
                    <a:pt x="33159" y="9532"/>
                  </a:lnTo>
                  <a:close/>
                </a:path>
              </a:pathLst>
            </a:custGeom>
            <a:solidFill>
              <a:srgbClr val="FEFEF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89" name="Freihandform: Form 88">
              <a:extLst>
                <a:ext uri="{FF2B5EF4-FFF2-40B4-BE49-F238E27FC236}">
                  <a16:creationId xmlns:a16="http://schemas.microsoft.com/office/drawing/2014/main" id="{249E2524-BE2E-65BC-420A-CEBD969CF682}"/>
                </a:ext>
              </a:extLst>
            </p:cNvPr>
            <p:cNvSpPr/>
            <p:nvPr/>
          </p:nvSpPr>
          <p:spPr>
            <a:xfrm>
              <a:off x="-1276636" y="5597230"/>
              <a:ext cx="16987" cy="81895"/>
            </a:xfrm>
            <a:custGeom>
              <a:avLst/>
              <a:gdLst>
                <a:gd name="connsiteX0" fmla="*/ 16987 w 16987"/>
                <a:gd name="connsiteY0" fmla="*/ 81895 h 81895"/>
                <a:gd name="connsiteX1" fmla="*/ 0 w 16987"/>
                <a:gd name="connsiteY1" fmla="*/ 81895 h 81895"/>
                <a:gd name="connsiteX2" fmla="*/ 0 w 16987"/>
                <a:gd name="connsiteY2" fmla="*/ 8494 h 81895"/>
                <a:gd name="connsiteX3" fmla="*/ 8494 w 16987"/>
                <a:gd name="connsiteY3" fmla="*/ 0 h 81895"/>
                <a:gd name="connsiteX4" fmla="*/ 16987 w 16987"/>
                <a:gd name="connsiteY4" fmla="*/ 8494 h 81895"/>
                <a:gd name="connsiteX5" fmla="*/ 16987 w 16987"/>
                <a:gd name="connsiteY5" fmla="*/ 81895 h 81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987" h="81895">
                  <a:moveTo>
                    <a:pt x="16987" y="81895"/>
                  </a:moveTo>
                  <a:lnTo>
                    <a:pt x="0" y="81895"/>
                  </a:lnTo>
                  <a:lnTo>
                    <a:pt x="0" y="8494"/>
                  </a:lnTo>
                  <a:cubicBezTo>
                    <a:pt x="0" y="3820"/>
                    <a:pt x="3783" y="0"/>
                    <a:pt x="8494" y="0"/>
                  </a:cubicBezTo>
                  <a:cubicBezTo>
                    <a:pt x="13204" y="0"/>
                    <a:pt x="16987" y="3783"/>
                    <a:pt x="16987" y="8494"/>
                  </a:cubicBezTo>
                  <a:lnTo>
                    <a:pt x="16987" y="81895"/>
                  </a:lnTo>
                  <a:close/>
                </a:path>
              </a:pathLst>
            </a:custGeom>
            <a:solidFill>
              <a:srgbClr val="0059B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0" name="Freihandform: Form 89">
              <a:extLst>
                <a:ext uri="{FF2B5EF4-FFF2-40B4-BE49-F238E27FC236}">
                  <a16:creationId xmlns:a16="http://schemas.microsoft.com/office/drawing/2014/main" id="{97F447BA-6D4B-820E-3D4A-F4D432E77EC6}"/>
                </a:ext>
              </a:extLst>
            </p:cNvPr>
            <p:cNvSpPr/>
            <p:nvPr/>
          </p:nvSpPr>
          <p:spPr>
            <a:xfrm>
              <a:off x="-1284722" y="5675750"/>
              <a:ext cx="33196" cy="9532"/>
            </a:xfrm>
            <a:custGeom>
              <a:avLst/>
              <a:gdLst>
                <a:gd name="connsiteX0" fmla="*/ 33159 w 33196"/>
                <a:gd name="connsiteY0" fmla="*/ 9532 h 9532"/>
                <a:gd name="connsiteX1" fmla="*/ 0 w 33196"/>
                <a:gd name="connsiteY1" fmla="*/ 9532 h 9532"/>
                <a:gd name="connsiteX2" fmla="*/ 0 w 33196"/>
                <a:gd name="connsiteY2" fmla="*/ 4228 h 9532"/>
                <a:gd name="connsiteX3" fmla="*/ 4228 w 33196"/>
                <a:gd name="connsiteY3" fmla="*/ 0 h 9532"/>
                <a:gd name="connsiteX4" fmla="*/ 28968 w 33196"/>
                <a:gd name="connsiteY4" fmla="*/ 0 h 9532"/>
                <a:gd name="connsiteX5" fmla="*/ 33196 w 33196"/>
                <a:gd name="connsiteY5" fmla="*/ 4228 h 9532"/>
                <a:gd name="connsiteX6" fmla="*/ 33196 w 33196"/>
                <a:gd name="connsiteY6" fmla="*/ 9532 h 95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3196" h="9532">
                  <a:moveTo>
                    <a:pt x="33159" y="9532"/>
                  </a:moveTo>
                  <a:lnTo>
                    <a:pt x="0" y="9532"/>
                  </a:lnTo>
                  <a:lnTo>
                    <a:pt x="0" y="4228"/>
                  </a:lnTo>
                  <a:cubicBezTo>
                    <a:pt x="0" y="1892"/>
                    <a:pt x="1892" y="0"/>
                    <a:pt x="4228" y="0"/>
                  </a:cubicBezTo>
                  <a:lnTo>
                    <a:pt x="28968" y="0"/>
                  </a:lnTo>
                  <a:cubicBezTo>
                    <a:pt x="31304" y="0"/>
                    <a:pt x="33196" y="1892"/>
                    <a:pt x="33196" y="4228"/>
                  </a:cubicBezTo>
                  <a:lnTo>
                    <a:pt x="33196" y="9532"/>
                  </a:lnTo>
                  <a:close/>
                </a:path>
              </a:pathLst>
            </a:custGeom>
            <a:solidFill>
              <a:srgbClr val="FEFEF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1" name="Freihandform: Form 90">
              <a:extLst>
                <a:ext uri="{FF2B5EF4-FFF2-40B4-BE49-F238E27FC236}">
                  <a16:creationId xmlns:a16="http://schemas.microsoft.com/office/drawing/2014/main" id="{0FECE5E6-C835-FBD1-4E88-B3DE2199B7E3}"/>
                </a:ext>
              </a:extLst>
            </p:cNvPr>
            <p:cNvSpPr/>
            <p:nvPr/>
          </p:nvSpPr>
          <p:spPr>
            <a:xfrm>
              <a:off x="-1519800" y="5247616"/>
              <a:ext cx="81413" cy="316009"/>
            </a:xfrm>
            <a:custGeom>
              <a:avLst/>
              <a:gdLst>
                <a:gd name="connsiteX0" fmla="*/ 40725 w 81413"/>
                <a:gd name="connsiteY0" fmla="*/ 0 h 316009"/>
                <a:gd name="connsiteX1" fmla="*/ 40725 w 81413"/>
                <a:gd name="connsiteY1" fmla="*/ 0 h 316009"/>
                <a:gd name="connsiteX2" fmla="*/ 0 w 81413"/>
                <a:gd name="connsiteY2" fmla="*/ 40725 h 316009"/>
                <a:gd name="connsiteX3" fmla="*/ 0 w 81413"/>
                <a:gd name="connsiteY3" fmla="*/ 316010 h 316009"/>
                <a:gd name="connsiteX4" fmla="*/ 81413 w 81413"/>
                <a:gd name="connsiteY4" fmla="*/ 316010 h 316009"/>
                <a:gd name="connsiteX5" fmla="*/ 81413 w 81413"/>
                <a:gd name="connsiteY5" fmla="*/ 40725 h 316009"/>
                <a:gd name="connsiteX6" fmla="*/ 40688 w 81413"/>
                <a:gd name="connsiteY6" fmla="*/ 0 h 3160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1413" h="316009">
                  <a:moveTo>
                    <a:pt x="40725" y="0"/>
                  </a:moveTo>
                  <a:lnTo>
                    <a:pt x="40725" y="0"/>
                  </a:lnTo>
                  <a:cubicBezTo>
                    <a:pt x="18248" y="0"/>
                    <a:pt x="0" y="18211"/>
                    <a:pt x="0" y="40725"/>
                  </a:cubicBezTo>
                  <a:lnTo>
                    <a:pt x="0" y="316010"/>
                  </a:lnTo>
                  <a:lnTo>
                    <a:pt x="81413" y="316010"/>
                  </a:lnTo>
                  <a:lnTo>
                    <a:pt x="81413" y="40725"/>
                  </a:lnTo>
                  <a:cubicBezTo>
                    <a:pt x="81413" y="18248"/>
                    <a:pt x="63165" y="0"/>
                    <a:pt x="40688" y="0"/>
                  </a:cubicBezTo>
                </a:path>
              </a:pathLst>
            </a:custGeom>
            <a:solidFill>
              <a:srgbClr val="00348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2" name="Freihandform: Form 91">
              <a:extLst>
                <a:ext uri="{FF2B5EF4-FFF2-40B4-BE49-F238E27FC236}">
                  <a16:creationId xmlns:a16="http://schemas.microsoft.com/office/drawing/2014/main" id="{6BF929B8-54E2-819C-FDF4-0330054DE404}"/>
                </a:ext>
              </a:extLst>
            </p:cNvPr>
            <p:cNvSpPr/>
            <p:nvPr/>
          </p:nvSpPr>
          <p:spPr>
            <a:xfrm>
              <a:off x="-1519726" y="5164274"/>
              <a:ext cx="81413" cy="135008"/>
            </a:xfrm>
            <a:custGeom>
              <a:avLst/>
              <a:gdLst>
                <a:gd name="connsiteX0" fmla="*/ 49367 w 81413"/>
                <a:gd name="connsiteY0" fmla="*/ 63833 h 135008"/>
                <a:gd name="connsiteX1" fmla="*/ 49367 w 81413"/>
                <a:gd name="connsiteY1" fmla="*/ 63833 h 135008"/>
                <a:gd name="connsiteX2" fmla="*/ 45806 w 81413"/>
                <a:gd name="connsiteY2" fmla="*/ 60272 h 135008"/>
                <a:gd name="connsiteX3" fmla="*/ 44471 w 81413"/>
                <a:gd name="connsiteY3" fmla="*/ 60272 h 135008"/>
                <a:gd name="connsiteX4" fmla="*/ 43396 w 81413"/>
                <a:gd name="connsiteY4" fmla="*/ 30118 h 135008"/>
                <a:gd name="connsiteX5" fmla="*/ 45102 w 81413"/>
                <a:gd name="connsiteY5" fmla="*/ 25815 h 135008"/>
                <a:gd name="connsiteX6" fmla="*/ 46771 w 81413"/>
                <a:gd name="connsiteY6" fmla="*/ 21513 h 135008"/>
                <a:gd name="connsiteX7" fmla="*/ 42914 w 81413"/>
                <a:gd name="connsiteY7" fmla="*/ 15615 h 135008"/>
                <a:gd name="connsiteX8" fmla="*/ 42431 w 81413"/>
                <a:gd name="connsiteY8" fmla="*/ 2040 h 135008"/>
                <a:gd name="connsiteX9" fmla="*/ 40317 w 81413"/>
                <a:gd name="connsiteY9" fmla="*/ 0 h 135008"/>
                <a:gd name="connsiteX10" fmla="*/ 38203 w 81413"/>
                <a:gd name="connsiteY10" fmla="*/ 2040 h 135008"/>
                <a:gd name="connsiteX11" fmla="*/ 37721 w 81413"/>
                <a:gd name="connsiteY11" fmla="*/ 15615 h 135008"/>
                <a:gd name="connsiteX12" fmla="*/ 33863 w 81413"/>
                <a:gd name="connsiteY12" fmla="*/ 21513 h 135008"/>
                <a:gd name="connsiteX13" fmla="*/ 35532 w 81413"/>
                <a:gd name="connsiteY13" fmla="*/ 25815 h 135008"/>
                <a:gd name="connsiteX14" fmla="*/ 37239 w 81413"/>
                <a:gd name="connsiteY14" fmla="*/ 30118 h 135008"/>
                <a:gd name="connsiteX15" fmla="*/ 36200 w 81413"/>
                <a:gd name="connsiteY15" fmla="*/ 60272 h 135008"/>
                <a:gd name="connsiteX16" fmla="*/ 35495 w 81413"/>
                <a:gd name="connsiteY16" fmla="*/ 60272 h 135008"/>
                <a:gd name="connsiteX17" fmla="*/ 31935 w 81413"/>
                <a:gd name="connsiteY17" fmla="*/ 63833 h 135008"/>
                <a:gd name="connsiteX18" fmla="*/ 27743 w 81413"/>
                <a:gd name="connsiteY18" fmla="*/ 69767 h 135008"/>
                <a:gd name="connsiteX19" fmla="*/ 0 w 81413"/>
                <a:gd name="connsiteY19" fmla="*/ 108378 h 135008"/>
                <a:gd name="connsiteX20" fmla="*/ 0 w 81413"/>
                <a:gd name="connsiteY20" fmla="*/ 135009 h 135008"/>
                <a:gd name="connsiteX21" fmla="*/ 81413 w 81413"/>
                <a:gd name="connsiteY21" fmla="*/ 135009 h 135008"/>
                <a:gd name="connsiteX22" fmla="*/ 81413 w 81413"/>
                <a:gd name="connsiteY22" fmla="*/ 108378 h 135008"/>
                <a:gd name="connsiteX23" fmla="*/ 53670 w 81413"/>
                <a:gd name="connsiteY23" fmla="*/ 69767 h 135008"/>
                <a:gd name="connsiteX24" fmla="*/ 49478 w 81413"/>
                <a:gd name="connsiteY24" fmla="*/ 63833 h 135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81413" h="135008">
                  <a:moveTo>
                    <a:pt x="49367" y="63833"/>
                  </a:moveTo>
                  <a:lnTo>
                    <a:pt x="49367" y="63833"/>
                  </a:lnTo>
                  <a:cubicBezTo>
                    <a:pt x="49367" y="61867"/>
                    <a:pt x="47772" y="60272"/>
                    <a:pt x="45806" y="60272"/>
                  </a:cubicBezTo>
                  <a:lnTo>
                    <a:pt x="44471" y="60272"/>
                  </a:lnTo>
                  <a:lnTo>
                    <a:pt x="43396" y="30118"/>
                  </a:lnTo>
                  <a:cubicBezTo>
                    <a:pt x="43359" y="28522"/>
                    <a:pt x="44026" y="27002"/>
                    <a:pt x="45102" y="25815"/>
                  </a:cubicBezTo>
                  <a:cubicBezTo>
                    <a:pt x="46140" y="24665"/>
                    <a:pt x="46771" y="23181"/>
                    <a:pt x="46771" y="21513"/>
                  </a:cubicBezTo>
                  <a:cubicBezTo>
                    <a:pt x="46771" y="18879"/>
                    <a:pt x="45176" y="16617"/>
                    <a:pt x="42914" y="15615"/>
                  </a:cubicBezTo>
                  <a:lnTo>
                    <a:pt x="42431" y="2040"/>
                  </a:lnTo>
                  <a:cubicBezTo>
                    <a:pt x="42394" y="890"/>
                    <a:pt x="41467" y="0"/>
                    <a:pt x="40317" y="0"/>
                  </a:cubicBezTo>
                  <a:cubicBezTo>
                    <a:pt x="39167" y="0"/>
                    <a:pt x="38240" y="890"/>
                    <a:pt x="38203" y="2040"/>
                  </a:cubicBezTo>
                  <a:lnTo>
                    <a:pt x="37721" y="15615"/>
                  </a:lnTo>
                  <a:cubicBezTo>
                    <a:pt x="35458" y="16617"/>
                    <a:pt x="33863" y="18879"/>
                    <a:pt x="33863" y="21513"/>
                  </a:cubicBezTo>
                  <a:cubicBezTo>
                    <a:pt x="33863" y="23181"/>
                    <a:pt x="34494" y="24665"/>
                    <a:pt x="35532" y="25815"/>
                  </a:cubicBezTo>
                  <a:cubicBezTo>
                    <a:pt x="36608" y="27002"/>
                    <a:pt x="37313" y="28486"/>
                    <a:pt x="37239" y="30118"/>
                  </a:cubicBezTo>
                  <a:lnTo>
                    <a:pt x="36200" y="60272"/>
                  </a:lnTo>
                  <a:lnTo>
                    <a:pt x="35495" y="60272"/>
                  </a:lnTo>
                  <a:cubicBezTo>
                    <a:pt x="33530" y="60272"/>
                    <a:pt x="31935" y="61867"/>
                    <a:pt x="31935" y="63833"/>
                  </a:cubicBezTo>
                  <a:cubicBezTo>
                    <a:pt x="31935" y="66503"/>
                    <a:pt x="30266" y="68914"/>
                    <a:pt x="27743" y="69767"/>
                  </a:cubicBezTo>
                  <a:cubicBezTo>
                    <a:pt x="11609" y="75182"/>
                    <a:pt x="0" y="90426"/>
                    <a:pt x="0" y="108378"/>
                  </a:cubicBezTo>
                  <a:lnTo>
                    <a:pt x="0" y="135009"/>
                  </a:lnTo>
                  <a:lnTo>
                    <a:pt x="81413" y="135009"/>
                  </a:lnTo>
                  <a:lnTo>
                    <a:pt x="81413" y="108378"/>
                  </a:lnTo>
                  <a:cubicBezTo>
                    <a:pt x="81413" y="90426"/>
                    <a:pt x="69804" y="75182"/>
                    <a:pt x="53670" y="69767"/>
                  </a:cubicBezTo>
                  <a:cubicBezTo>
                    <a:pt x="51147" y="68914"/>
                    <a:pt x="49478" y="66503"/>
                    <a:pt x="49478" y="63833"/>
                  </a:cubicBezTo>
                </a:path>
              </a:pathLst>
            </a:custGeom>
            <a:solidFill>
              <a:srgbClr val="0059B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93" name="Freihandform: Form 92">
            <a:extLst>
              <a:ext uri="{FF2B5EF4-FFF2-40B4-BE49-F238E27FC236}">
                <a16:creationId xmlns:a16="http://schemas.microsoft.com/office/drawing/2014/main" id="{8BBFC855-CA61-0D2E-AD2A-BA6E6967867B}"/>
              </a:ext>
            </a:extLst>
          </p:cNvPr>
          <p:cNvSpPr/>
          <p:nvPr/>
        </p:nvSpPr>
        <p:spPr>
          <a:xfrm>
            <a:off x="6336695" y="4169588"/>
            <a:ext cx="387701" cy="1248047"/>
          </a:xfrm>
          <a:custGeom>
            <a:avLst/>
            <a:gdLst>
              <a:gd name="connsiteX0" fmla="*/ 0 w 98697"/>
              <a:gd name="connsiteY0" fmla="*/ 0 h 317715"/>
              <a:gd name="connsiteX1" fmla="*/ 98697 w 98697"/>
              <a:gd name="connsiteY1" fmla="*/ 0 h 317715"/>
              <a:gd name="connsiteX2" fmla="*/ 98697 w 98697"/>
              <a:gd name="connsiteY2" fmla="*/ 317716 h 317715"/>
              <a:gd name="connsiteX3" fmla="*/ 0 w 98697"/>
              <a:gd name="connsiteY3" fmla="*/ 317716 h 317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8697" h="317715">
                <a:moveTo>
                  <a:pt x="0" y="0"/>
                </a:moveTo>
                <a:lnTo>
                  <a:pt x="98697" y="0"/>
                </a:lnTo>
                <a:lnTo>
                  <a:pt x="98697" y="317716"/>
                </a:lnTo>
                <a:lnTo>
                  <a:pt x="0" y="317716"/>
                </a:lnTo>
                <a:close/>
              </a:path>
            </a:pathLst>
          </a:custGeom>
          <a:solidFill>
            <a:srgbClr val="FCEFBD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94" name="Grafik 7">
            <a:extLst>
              <a:ext uri="{FF2B5EF4-FFF2-40B4-BE49-F238E27FC236}">
                <a16:creationId xmlns:a16="http://schemas.microsoft.com/office/drawing/2014/main" id="{B0EE3BF0-BD50-97C0-62DD-7D3EE65B5F61}"/>
              </a:ext>
            </a:extLst>
          </p:cNvPr>
          <p:cNvGrpSpPr/>
          <p:nvPr/>
        </p:nvGrpSpPr>
        <p:grpSpPr>
          <a:xfrm>
            <a:off x="6324600" y="3777079"/>
            <a:ext cx="412759" cy="1372618"/>
            <a:chOff x="-1531521" y="5329697"/>
            <a:chExt cx="105076" cy="349427"/>
          </a:xfrm>
        </p:grpSpPr>
        <p:sp>
          <p:nvSpPr>
            <p:cNvPr id="95" name="Freihandform: Form 94">
              <a:extLst>
                <a:ext uri="{FF2B5EF4-FFF2-40B4-BE49-F238E27FC236}">
                  <a16:creationId xmlns:a16="http://schemas.microsoft.com/office/drawing/2014/main" id="{6E784A0B-32E7-E44A-1461-6AE1DAC7F920}"/>
                </a:ext>
              </a:extLst>
            </p:cNvPr>
            <p:cNvSpPr/>
            <p:nvPr/>
          </p:nvSpPr>
          <p:spPr>
            <a:xfrm>
              <a:off x="-1486975" y="5329697"/>
              <a:ext cx="15800" cy="80448"/>
            </a:xfrm>
            <a:custGeom>
              <a:avLst/>
              <a:gdLst>
                <a:gd name="connsiteX0" fmla="*/ 7900 w 15800"/>
                <a:gd name="connsiteY0" fmla="*/ 0 h 80448"/>
                <a:gd name="connsiteX1" fmla="*/ 7900 w 15800"/>
                <a:gd name="connsiteY1" fmla="*/ 0 h 80448"/>
                <a:gd name="connsiteX2" fmla="*/ 0 w 15800"/>
                <a:gd name="connsiteY2" fmla="*/ 7900 h 80448"/>
                <a:gd name="connsiteX3" fmla="*/ 0 w 15800"/>
                <a:gd name="connsiteY3" fmla="*/ 80449 h 80448"/>
                <a:gd name="connsiteX4" fmla="*/ 15801 w 15800"/>
                <a:gd name="connsiteY4" fmla="*/ 80449 h 80448"/>
                <a:gd name="connsiteX5" fmla="*/ 15801 w 15800"/>
                <a:gd name="connsiteY5" fmla="*/ 7900 h 80448"/>
                <a:gd name="connsiteX6" fmla="*/ 7900 w 15800"/>
                <a:gd name="connsiteY6" fmla="*/ 0 h 804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800" h="80448">
                  <a:moveTo>
                    <a:pt x="7900" y="0"/>
                  </a:moveTo>
                  <a:lnTo>
                    <a:pt x="7900" y="0"/>
                  </a:lnTo>
                  <a:cubicBezTo>
                    <a:pt x="3524" y="0"/>
                    <a:pt x="0" y="3524"/>
                    <a:pt x="0" y="7900"/>
                  </a:cubicBezTo>
                  <a:lnTo>
                    <a:pt x="0" y="80449"/>
                  </a:lnTo>
                  <a:lnTo>
                    <a:pt x="15801" y="80449"/>
                  </a:lnTo>
                  <a:lnTo>
                    <a:pt x="15801" y="7900"/>
                  </a:lnTo>
                  <a:cubicBezTo>
                    <a:pt x="15801" y="3524"/>
                    <a:pt x="12277" y="0"/>
                    <a:pt x="7900" y="0"/>
                  </a:cubicBezTo>
                </a:path>
              </a:pathLst>
            </a:custGeom>
            <a:solidFill>
              <a:srgbClr val="00185D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6" name="Freihandform: Form 95">
              <a:extLst>
                <a:ext uri="{FF2B5EF4-FFF2-40B4-BE49-F238E27FC236}">
                  <a16:creationId xmlns:a16="http://schemas.microsoft.com/office/drawing/2014/main" id="{75318329-E81A-A9FD-D1F8-18D707130FDD}"/>
                </a:ext>
              </a:extLst>
            </p:cNvPr>
            <p:cNvSpPr/>
            <p:nvPr/>
          </p:nvSpPr>
          <p:spPr>
            <a:xfrm>
              <a:off x="-1519800" y="5329808"/>
              <a:ext cx="7158" cy="80374"/>
            </a:xfrm>
            <a:custGeom>
              <a:avLst/>
              <a:gdLst>
                <a:gd name="connsiteX0" fmla="*/ 0 w 7158"/>
                <a:gd name="connsiteY0" fmla="*/ 80375 h 80374"/>
                <a:gd name="connsiteX1" fmla="*/ 7158 w 7158"/>
                <a:gd name="connsiteY1" fmla="*/ 80375 h 80374"/>
                <a:gd name="connsiteX2" fmla="*/ 7158 w 7158"/>
                <a:gd name="connsiteY2" fmla="*/ 7826 h 80374"/>
                <a:gd name="connsiteX3" fmla="*/ 0 w 7158"/>
                <a:gd name="connsiteY3" fmla="*/ 0 h 80374"/>
                <a:gd name="connsiteX4" fmla="*/ 0 w 7158"/>
                <a:gd name="connsiteY4" fmla="*/ 80375 h 80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8" h="80374">
                  <a:moveTo>
                    <a:pt x="0" y="80375"/>
                  </a:moveTo>
                  <a:lnTo>
                    <a:pt x="7158" y="80375"/>
                  </a:lnTo>
                  <a:lnTo>
                    <a:pt x="7158" y="7826"/>
                  </a:lnTo>
                  <a:cubicBezTo>
                    <a:pt x="7158" y="3709"/>
                    <a:pt x="4006" y="371"/>
                    <a:pt x="0" y="0"/>
                  </a:cubicBezTo>
                  <a:lnTo>
                    <a:pt x="0" y="80375"/>
                  </a:lnTo>
                  <a:close/>
                </a:path>
              </a:pathLst>
            </a:custGeom>
            <a:solidFill>
              <a:srgbClr val="00185D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7" name="Freihandform: Form 96">
              <a:extLst>
                <a:ext uri="{FF2B5EF4-FFF2-40B4-BE49-F238E27FC236}">
                  <a16:creationId xmlns:a16="http://schemas.microsoft.com/office/drawing/2014/main" id="{F2FCE488-300C-A53F-BBED-71565D086BB1}"/>
                </a:ext>
              </a:extLst>
            </p:cNvPr>
            <p:cNvSpPr/>
            <p:nvPr/>
          </p:nvSpPr>
          <p:spPr>
            <a:xfrm>
              <a:off x="-1445545" y="5329771"/>
              <a:ext cx="7158" cy="80374"/>
            </a:xfrm>
            <a:custGeom>
              <a:avLst/>
              <a:gdLst>
                <a:gd name="connsiteX0" fmla="*/ 7159 w 7158"/>
                <a:gd name="connsiteY0" fmla="*/ 0 h 80374"/>
                <a:gd name="connsiteX1" fmla="*/ 0 w 7158"/>
                <a:gd name="connsiteY1" fmla="*/ 7826 h 80374"/>
                <a:gd name="connsiteX2" fmla="*/ 0 w 7158"/>
                <a:gd name="connsiteY2" fmla="*/ 80375 h 80374"/>
                <a:gd name="connsiteX3" fmla="*/ 7159 w 7158"/>
                <a:gd name="connsiteY3" fmla="*/ 80375 h 80374"/>
                <a:gd name="connsiteX4" fmla="*/ 7159 w 7158"/>
                <a:gd name="connsiteY4" fmla="*/ 0 h 803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58" h="80374">
                  <a:moveTo>
                    <a:pt x="7159" y="0"/>
                  </a:moveTo>
                  <a:cubicBezTo>
                    <a:pt x="3153" y="371"/>
                    <a:pt x="0" y="3709"/>
                    <a:pt x="0" y="7826"/>
                  </a:cubicBezTo>
                  <a:lnTo>
                    <a:pt x="0" y="80375"/>
                  </a:lnTo>
                  <a:lnTo>
                    <a:pt x="7159" y="80375"/>
                  </a:lnTo>
                  <a:lnTo>
                    <a:pt x="7159" y="0"/>
                  </a:lnTo>
                  <a:close/>
                </a:path>
              </a:pathLst>
            </a:custGeom>
            <a:solidFill>
              <a:srgbClr val="00185D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8" name="Freihandform: Form 97">
              <a:extLst>
                <a:ext uri="{FF2B5EF4-FFF2-40B4-BE49-F238E27FC236}">
                  <a16:creationId xmlns:a16="http://schemas.microsoft.com/office/drawing/2014/main" id="{831BF0EC-73D6-E56D-792F-137524E7E96C}"/>
                </a:ext>
              </a:extLst>
            </p:cNvPr>
            <p:cNvSpPr/>
            <p:nvPr/>
          </p:nvSpPr>
          <p:spPr>
            <a:xfrm>
              <a:off x="-1531521" y="5426725"/>
              <a:ext cx="105076" cy="7677"/>
            </a:xfrm>
            <a:custGeom>
              <a:avLst/>
              <a:gdLst>
                <a:gd name="connsiteX0" fmla="*/ 103185 w 105076"/>
                <a:gd name="connsiteY0" fmla="*/ 0 h 7677"/>
                <a:gd name="connsiteX1" fmla="*/ 1891 w 105076"/>
                <a:gd name="connsiteY1" fmla="*/ 0 h 7677"/>
                <a:gd name="connsiteX2" fmla="*/ 0 w 105076"/>
                <a:gd name="connsiteY2" fmla="*/ 1892 h 7677"/>
                <a:gd name="connsiteX3" fmla="*/ 0 w 105076"/>
                <a:gd name="connsiteY3" fmla="*/ 5786 h 7677"/>
                <a:gd name="connsiteX4" fmla="*/ 1891 w 105076"/>
                <a:gd name="connsiteY4" fmla="*/ 7678 h 7677"/>
                <a:gd name="connsiteX5" fmla="*/ 103185 w 105076"/>
                <a:gd name="connsiteY5" fmla="*/ 7678 h 7677"/>
                <a:gd name="connsiteX6" fmla="*/ 105077 w 105076"/>
                <a:gd name="connsiteY6" fmla="*/ 5786 h 7677"/>
                <a:gd name="connsiteX7" fmla="*/ 105077 w 105076"/>
                <a:gd name="connsiteY7" fmla="*/ 1892 h 7677"/>
                <a:gd name="connsiteX8" fmla="*/ 103185 w 105076"/>
                <a:gd name="connsiteY8" fmla="*/ 0 h 76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5076" h="7677">
                  <a:moveTo>
                    <a:pt x="103185" y="0"/>
                  </a:moveTo>
                  <a:lnTo>
                    <a:pt x="1891" y="0"/>
                  </a:lnTo>
                  <a:cubicBezTo>
                    <a:pt x="853" y="0"/>
                    <a:pt x="0" y="853"/>
                    <a:pt x="0" y="1892"/>
                  </a:cubicBezTo>
                  <a:lnTo>
                    <a:pt x="0" y="5786"/>
                  </a:lnTo>
                  <a:cubicBezTo>
                    <a:pt x="0" y="6825"/>
                    <a:pt x="853" y="7678"/>
                    <a:pt x="1891" y="7678"/>
                  </a:cubicBezTo>
                  <a:lnTo>
                    <a:pt x="103185" y="7678"/>
                  </a:lnTo>
                  <a:cubicBezTo>
                    <a:pt x="104224" y="7678"/>
                    <a:pt x="105077" y="6825"/>
                    <a:pt x="105077" y="5786"/>
                  </a:cubicBezTo>
                  <a:lnTo>
                    <a:pt x="105077" y="1892"/>
                  </a:lnTo>
                  <a:cubicBezTo>
                    <a:pt x="105077" y="853"/>
                    <a:pt x="104224" y="0"/>
                    <a:pt x="103185" y="0"/>
                  </a:cubicBezTo>
                </a:path>
              </a:pathLst>
            </a:custGeom>
            <a:solidFill>
              <a:srgbClr val="00185D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9" name="Freihandform: Form 98">
              <a:extLst>
                <a:ext uri="{FF2B5EF4-FFF2-40B4-BE49-F238E27FC236}">
                  <a16:creationId xmlns:a16="http://schemas.microsoft.com/office/drawing/2014/main" id="{67CBB036-4250-A085-8661-5A0EE7E55976}"/>
                </a:ext>
              </a:extLst>
            </p:cNvPr>
            <p:cNvSpPr/>
            <p:nvPr/>
          </p:nvSpPr>
          <p:spPr>
            <a:xfrm>
              <a:off x="-1489460" y="5490483"/>
              <a:ext cx="20696" cy="20659"/>
            </a:xfrm>
            <a:custGeom>
              <a:avLst/>
              <a:gdLst>
                <a:gd name="connsiteX0" fmla="*/ 20696 w 20696"/>
                <a:gd name="connsiteY0" fmla="*/ 10311 h 20659"/>
                <a:gd name="connsiteX1" fmla="*/ 10348 w 20696"/>
                <a:gd name="connsiteY1" fmla="*/ 20659 h 20659"/>
                <a:gd name="connsiteX2" fmla="*/ 0 w 20696"/>
                <a:gd name="connsiteY2" fmla="*/ 10311 h 20659"/>
                <a:gd name="connsiteX3" fmla="*/ 10348 w 20696"/>
                <a:gd name="connsiteY3" fmla="*/ 0 h 20659"/>
                <a:gd name="connsiteX4" fmla="*/ 20696 w 20696"/>
                <a:gd name="connsiteY4" fmla="*/ 10311 h 20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696" h="20659">
                  <a:moveTo>
                    <a:pt x="20696" y="10311"/>
                  </a:moveTo>
                  <a:cubicBezTo>
                    <a:pt x="20696" y="16023"/>
                    <a:pt x="16060" y="20659"/>
                    <a:pt x="10348" y="20659"/>
                  </a:cubicBezTo>
                  <a:cubicBezTo>
                    <a:pt x="4636" y="20659"/>
                    <a:pt x="0" y="16023"/>
                    <a:pt x="0" y="10311"/>
                  </a:cubicBezTo>
                  <a:cubicBezTo>
                    <a:pt x="0" y="4599"/>
                    <a:pt x="4636" y="0"/>
                    <a:pt x="10348" y="0"/>
                  </a:cubicBezTo>
                  <a:cubicBezTo>
                    <a:pt x="16060" y="0"/>
                    <a:pt x="20696" y="4636"/>
                    <a:pt x="20696" y="10311"/>
                  </a:cubicBezTo>
                </a:path>
              </a:pathLst>
            </a:custGeom>
            <a:solidFill>
              <a:srgbClr val="0059B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00" name="Freihandform: Form 99">
              <a:extLst>
                <a:ext uri="{FF2B5EF4-FFF2-40B4-BE49-F238E27FC236}">
                  <a16:creationId xmlns:a16="http://schemas.microsoft.com/office/drawing/2014/main" id="{3132E0A6-7360-F6ED-1A3D-E5BA9C11B191}"/>
                </a:ext>
              </a:extLst>
            </p:cNvPr>
            <p:cNvSpPr/>
            <p:nvPr/>
          </p:nvSpPr>
          <p:spPr>
            <a:xfrm>
              <a:off x="-1487606" y="5597230"/>
              <a:ext cx="16987" cy="81895"/>
            </a:xfrm>
            <a:custGeom>
              <a:avLst/>
              <a:gdLst>
                <a:gd name="connsiteX0" fmla="*/ 16987 w 16987"/>
                <a:gd name="connsiteY0" fmla="*/ 81895 h 81895"/>
                <a:gd name="connsiteX1" fmla="*/ 0 w 16987"/>
                <a:gd name="connsiteY1" fmla="*/ 81895 h 81895"/>
                <a:gd name="connsiteX2" fmla="*/ 0 w 16987"/>
                <a:gd name="connsiteY2" fmla="*/ 8494 h 81895"/>
                <a:gd name="connsiteX3" fmla="*/ 8494 w 16987"/>
                <a:gd name="connsiteY3" fmla="*/ 0 h 81895"/>
                <a:gd name="connsiteX4" fmla="*/ 16987 w 16987"/>
                <a:gd name="connsiteY4" fmla="*/ 8494 h 81895"/>
                <a:gd name="connsiteX5" fmla="*/ 16987 w 16987"/>
                <a:gd name="connsiteY5" fmla="*/ 81895 h 81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987" h="81895">
                  <a:moveTo>
                    <a:pt x="16987" y="81895"/>
                  </a:moveTo>
                  <a:lnTo>
                    <a:pt x="0" y="81895"/>
                  </a:lnTo>
                  <a:lnTo>
                    <a:pt x="0" y="8494"/>
                  </a:lnTo>
                  <a:cubicBezTo>
                    <a:pt x="0" y="3820"/>
                    <a:pt x="3783" y="0"/>
                    <a:pt x="8494" y="0"/>
                  </a:cubicBezTo>
                  <a:cubicBezTo>
                    <a:pt x="13204" y="0"/>
                    <a:pt x="16987" y="3783"/>
                    <a:pt x="16987" y="8494"/>
                  </a:cubicBezTo>
                  <a:lnTo>
                    <a:pt x="16987" y="81895"/>
                  </a:lnTo>
                  <a:close/>
                </a:path>
              </a:pathLst>
            </a:custGeom>
            <a:solidFill>
              <a:srgbClr val="0059B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101" name="Freihandform: Form 100">
            <a:extLst>
              <a:ext uri="{FF2B5EF4-FFF2-40B4-BE49-F238E27FC236}">
                <a16:creationId xmlns:a16="http://schemas.microsoft.com/office/drawing/2014/main" id="{FEBC3A31-CD71-639F-AFAE-45D79711C41F}"/>
              </a:ext>
            </a:extLst>
          </p:cNvPr>
          <p:cNvSpPr/>
          <p:nvPr/>
        </p:nvSpPr>
        <p:spPr>
          <a:xfrm>
            <a:off x="6363941" y="3654983"/>
            <a:ext cx="333940" cy="30302"/>
          </a:xfrm>
          <a:custGeom>
            <a:avLst/>
            <a:gdLst>
              <a:gd name="connsiteX0" fmla="*/ 0 w 85011"/>
              <a:gd name="connsiteY0" fmla="*/ 0 h 7714"/>
              <a:gd name="connsiteX1" fmla="*/ 85011 w 85011"/>
              <a:gd name="connsiteY1" fmla="*/ 0 h 7714"/>
              <a:gd name="connsiteX2" fmla="*/ 85011 w 85011"/>
              <a:gd name="connsiteY2" fmla="*/ 7715 h 7714"/>
              <a:gd name="connsiteX3" fmla="*/ 0 w 85011"/>
              <a:gd name="connsiteY3" fmla="*/ 7715 h 7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5011" h="7714">
                <a:moveTo>
                  <a:pt x="0" y="0"/>
                </a:moveTo>
                <a:lnTo>
                  <a:pt x="85011" y="0"/>
                </a:lnTo>
                <a:lnTo>
                  <a:pt x="85011" y="7715"/>
                </a:lnTo>
                <a:lnTo>
                  <a:pt x="0" y="7715"/>
                </a:lnTo>
                <a:close/>
              </a:path>
            </a:pathLst>
          </a:custGeom>
          <a:solidFill>
            <a:srgbClr val="00185D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02" name="Freihandform: Form 101">
            <a:extLst>
              <a:ext uri="{FF2B5EF4-FFF2-40B4-BE49-F238E27FC236}">
                <a16:creationId xmlns:a16="http://schemas.microsoft.com/office/drawing/2014/main" id="{C15EE070-B5FA-4A75-323D-119C1843FF10}"/>
              </a:ext>
            </a:extLst>
          </p:cNvPr>
          <p:cNvSpPr/>
          <p:nvPr/>
        </p:nvSpPr>
        <p:spPr>
          <a:xfrm>
            <a:off x="6465929" y="5136443"/>
            <a:ext cx="130396" cy="37444"/>
          </a:xfrm>
          <a:custGeom>
            <a:avLst/>
            <a:gdLst>
              <a:gd name="connsiteX0" fmla="*/ 33159 w 33195"/>
              <a:gd name="connsiteY0" fmla="*/ 9532 h 9532"/>
              <a:gd name="connsiteX1" fmla="*/ 0 w 33195"/>
              <a:gd name="connsiteY1" fmla="*/ 9532 h 9532"/>
              <a:gd name="connsiteX2" fmla="*/ 0 w 33195"/>
              <a:gd name="connsiteY2" fmla="*/ 4228 h 9532"/>
              <a:gd name="connsiteX3" fmla="*/ 4228 w 33195"/>
              <a:gd name="connsiteY3" fmla="*/ 0 h 9532"/>
              <a:gd name="connsiteX4" fmla="*/ 28968 w 33195"/>
              <a:gd name="connsiteY4" fmla="*/ 0 h 9532"/>
              <a:gd name="connsiteX5" fmla="*/ 33196 w 33195"/>
              <a:gd name="connsiteY5" fmla="*/ 4228 h 9532"/>
              <a:gd name="connsiteX6" fmla="*/ 33196 w 33195"/>
              <a:gd name="connsiteY6" fmla="*/ 9532 h 9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195" h="9532">
                <a:moveTo>
                  <a:pt x="33159" y="9532"/>
                </a:moveTo>
                <a:lnTo>
                  <a:pt x="0" y="9532"/>
                </a:lnTo>
                <a:lnTo>
                  <a:pt x="0" y="4228"/>
                </a:lnTo>
                <a:cubicBezTo>
                  <a:pt x="0" y="1892"/>
                  <a:pt x="1892" y="0"/>
                  <a:pt x="4228" y="0"/>
                </a:cubicBezTo>
                <a:lnTo>
                  <a:pt x="28968" y="0"/>
                </a:lnTo>
                <a:cubicBezTo>
                  <a:pt x="31304" y="0"/>
                  <a:pt x="33196" y="1892"/>
                  <a:pt x="33196" y="4228"/>
                </a:cubicBezTo>
                <a:lnTo>
                  <a:pt x="33196" y="9532"/>
                </a:lnTo>
                <a:close/>
              </a:path>
            </a:pathLst>
          </a:custGeom>
          <a:solidFill>
            <a:srgbClr val="FEFEFE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20" name="Grafik 7">
            <a:extLst>
              <a:ext uri="{FF2B5EF4-FFF2-40B4-BE49-F238E27FC236}">
                <a16:creationId xmlns:a16="http://schemas.microsoft.com/office/drawing/2014/main" id="{620532BA-64E0-F5D3-9879-E44D4C682663}"/>
              </a:ext>
            </a:extLst>
          </p:cNvPr>
          <p:cNvGrpSpPr/>
          <p:nvPr/>
        </p:nvGrpSpPr>
        <p:grpSpPr>
          <a:xfrm>
            <a:off x="3975929" y="4994969"/>
            <a:ext cx="4413482" cy="551028"/>
            <a:chOff x="-2262571" y="5639735"/>
            <a:chExt cx="1123539" cy="140275"/>
          </a:xfrm>
        </p:grpSpPr>
        <p:sp>
          <p:nvSpPr>
            <p:cNvPr id="121" name="Freihandform: Form 120">
              <a:extLst>
                <a:ext uri="{FF2B5EF4-FFF2-40B4-BE49-F238E27FC236}">
                  <a16:creationId xmlns:a16="http://schemas.microsoft.com/office/drawing/2014/main" id="{A0AC7925-98FC-6000-6FA3-C3D648F0BB9A}"/>
                </a:ext>
              </a:extLst>
            </p:cNvPr>
            <p:cNvSpPr/>
            <p:nvPr/>
          </p:nvSpPr>
          <p:spPr>
            <a:xfrm>
              <a:off x="-2262571" y="5675267"/>
              <a:ext cx="709723" cy="104743"/>
            </a:xfrm>
            <a:custGeom>
              <a:avLst/>
              <a:gdLst>
                <a:gd name="connsiteX0" fmla="*/ 565108 w 709723"/>
                <a:gd name="connsiteY0" fmla="*/ 1 h 104743"/>
                <a:gd name="connsiteX1" fmla="*/ 0 w 709723"/>
                <a:gd name="connsiteY1" fmla="*/ 1484 h 104743"/>
                <a:gd name="connsiteX2" fmla="*/ 0 w 709723"/>
                <a:gd name="connsiteY2" fmla="*/ 104744 h 104743"/>
                <a:gd name="connsiteX3" fmla="*/ 709723 w 709723"/>
                <a:gd name="connsiteY3" fmla="*/ 104744 h 104743"/>
                <a:gd name="connsiteX4" fmla="*/ 689880 w 709723"/>
                <a:gd name="connsiteY4" fmla="*/ 71066 h 104743"/>
                <a:gd name="connsiteX5" fmla="*/ 565145 w 709723"/>
                <a:gd name="connsiteY5" fmla="*/ 1 h 104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09723" h="104743">
                  <a:moveTo>
                    <a:pt x="565108" y="1"/>
                  </a:moveTo>
                  <a:lnTo>
                    <a:pt x="0" y="1484"/>
                  </a:lnTo>
                  <a:lnTo>
                    <a:pt x="0" y="104744"/>
                  </a:lnTo>
                  <a:lnTo>
                    <a:pt x="709723" y="104744"/>
                  </a:lnTo>
                  <a:lnTo>
                    <a:pt x="689880" y="71066"/>
                  </a:lnTo>
                  <a:cubicBezTo>
                    <a:pt x="663880" y="26928"/>
                    <a:pt x="616367" y="-148"/>
                    <a:pt x="565145" y="1"/>
                  </a:cubicBezTo>
                </a:path>
              </a:pathLst>
            </a:custGeom>
            <a:solidFill>
              <a:srgbClr val="70A638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2" name="Freihandform: Form 121">
              <a:extLst>
                <a:ext uri="{FF2B5EF4-FFF2-40B4-BE49-F238E27FC236}">
                  <a16:creationId xmlns:a16="http://schemas.microsoft.com/office/drawing/2014/main" id="{14836756-314D-D8CA-F271-96CC6A725444}"/>
                </a:ext>
              </a:extLst>
            </p:cNvPr>
            <p:cNvSpPr/>
            <p:nvPr/>
          </p:nvSpPr>
          <p:spPr>
            <a:xfrm>
              <a:off x="-2036612" y="5639735"/>
              <a:ext cx="255552" cy="140015"/>
            </a:xfrm>
            <a:custGeom>
              <a:avLst/>
              <a:gdLst>
                <a:gd name="connsiteX0" fmla="*/ 254959 w 255552"/>
                <a:gd name="connsiteY0" fmla="*/ 140016 h 140015"/>
                <a:gd name="connsiteX1" fmla="*/ 255552 w 255552"/>
                <a:gd name="connsiteY1" fmla="*/ 127776 h 140015"/>
                <a:gd name="connsiteX2" fmla="*/ 127776 w 255552"/>
                <a:gd name="connsiteY2" fmla="*/ 0 h 140015"/>
                <a:gd name="connsiteX3" fmla="*/ 0 w 255552"/>
                <a:gd name="connsiteY3" fmla="*/ 127776 h 140015"/>
                <a:gd name="connsiteX4" fmla="*/ 593 w 255552"/>
                <a:gd name="connsiteY4" fmla="*/ 140016 h 140015"/>
                <a:gd name="connsiteX5" fmla="*/ 254922 w 255552"/>
                <a:gd name="connsiteY5" fmla="*/ 140016 h 140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5552" h="140015">
                  <a:moveTo>
                    <a:pt x="254959" y="140016"/>
                  </a:moveTo>
                  <a:cubicBezTo>
                    <a:pt x="255330" y="135973"/>
                    <a:pt x="255552" y="131893"/>
                    <a:pt x="255552" y="127776"/>
                  </a:cubicBezTo>
                  <a:cubicBezTo>
                    <a:pt x="255552" y="57231"/>
                    <a:pt x="198359" y="0"/>
                    <a:pt x="127776" y="0"/>
                  </a:cubicBezTo>
                  <a:cubicBezTo>
                    <a:pt x="57193" y="0"/>
                    <a:pt x="0" y="57193"/>
                    <a:pt x="0" y="127776"/>
                  </a:cubicBezTo>
                  <a:cubicBezTo>
                    <a:pt x="0" y="131893"/>
                    <a:pt x="223" y="135973"/>
                    <a:pt x="593" y="140016"/>
                  </a:cubicBezTo>
                  <a:lnTo>
                    <a:pt x="254922" y="140016"/>
                  </a:lnTo>
                  <a:close/>
                </a:path>
              </a:pathLst>
            </a:custGeom>
            <a:solidFill>
              <a:srgbClr val="53832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3" name="Freihandform: Form 122">
              <a:extLst>
                <a:ext uri="{FF2B5EF4-FFF2-40B4-BE49-F238E27FC236}">
                  <a16:creationId xmlns:a16="http://schemas.microsoft.com/office/drawing/2014/main" id="{EE12A8C0-95D3-5507-8382-6AE89EE9BAEC}"/>
                </a:ext>
              </a:extLst>
            </p:cNvPr>
            <p:cNvSpPr/>
            <p:nvPr/>
          </p:nvSpPr>
          <p:spPr>
            <a:xfrm>
              <a:off x="-2086498" y="5684874"/>
              <a:ext cx="249543" cy="94876"/>
            </a:xfrm>
            <a:custGeom>
              <a:avLst/>
              <a:gdLst>
                <a:gd name="connsiteX0" fmla="*/ 249544 w 249543"/>
                <a:gd name="connsiteY0" fmla="*/ 94877 h 94876"/>
                <a:gd name="connsiteX1" fmla="*/ 124772 w 249543"/>
                <a:gd name="connsiteY1" fmla="*/ 0 h 94876"/>
                <a:gd name="connsiteX2" fmla="*/ 0 w 249543"/>
                <a:gd name="connsiteY2" fmla="*/ 94877 h 94876"/>
                <a:gd name="connsiteX3" fmla="*/ 249544 w 249543"/>
                <a:gd name="connsiteY3" fmla="*/ 94877 h 94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9543" h="94876">
                  <a:moveTo>
                    <a:pt x="249544" y="94877"/>
                  </a:moveTo>
                  <a:cubicBezTo>
                    <a:pt x="234411" y="40169"/>
                    <a:pt x="184302" y="0"/>
                    <a:pt x="124772" y="0"/>
                  </a:cubicBezTo>
                  <a:cubicBezTo>
                    <a:pt x="65242" y="0"/>
                    <a:pt x="15133" y="40169"/>
                    <a:pt x="0" y="94877"/>
                  </a:cubicBezTo>
                  <a:lnTo>
                    <a:pt x="249544" y="94877"/>
                  </a:lnTo>
                  <a:close/>
                </a:path>
              </a:pathLst>
            </a:custGeom>
            <a:solidFill>
              <a:srgbClr val="9FCE6C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4" name="Freihandform: Form 123">
              <a:extLst>
                <a:ext uri="{FF2B5EF4-FFF2-40B4-BE49-F238E27FC236}">
                  <a16:creationId xmlns:a16="http://schemas.microsoft.com/office/drawing/2014/main" id="{02EBC647-7C88-7DF0-3F67-7A901B26F710}"/>
                </a:ext>
              </a:extLst>
            </p:cNvPr>
            <p:cNvSpPr/>
            <p:nvPr/>
          </p:nvSpPr>
          <p:spPr>
            <a:xfrm>
              <a:off x="-1657702" y="5746555"/>
              <a:ext cx="518670" cy="33455"/>
            </a:xfrm>
            <a:custGeom>
              <a:avLst/>
              <a:gdLst>
                <a:gd name="connsiteX0" fmla="*/ 518597 w 518670"/>
                <a:gd name="connsiteY0" fmla="*/ 32936 h 33455"/>
                <a:gd name="connsiteX1" fmla="*/ 0 w 518670"/>
                <a:gd name="connsiteY1" fmla="*/ 33456 h 33455"/>
                <a:gd name="connsiteX2" fmla="*/ 13464 w 518670"/>
                <a:gd name="connsiteY2" fmla="*/ 18397 h 33455"/>
                <a:gd name="connsiteX3" fmla="*/ 54597 w 518670"/>
                <a:gd name="connsiteY3" fmla="*/ 0 h 33455"/>
                <a:gd name="connsiteX4" fmla="*/ 464074 w 518670"/>
                <a:gd name="connsiteY4" fmla="*/ 0 h 33455"/>
                <a:gd name="connsiteX5" fmla="*/ 505207 w 518670"/>
                <a:gd name="connsiteY5" fmla="*/ 18397 h 33455"/>
                <a:gd name="connsiteX6" fmla="*/ 518671 w 518670"/>
                <a:gd name="connsiteY6" fmla="*/ 32936 h 334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8670" h="33455">
                  <a:moveTo>
                    <a:pt x="518597" y="32936"/>
                  </a:moveTo>
                  <a:lnTo>
                    <a:pt x="0" y="33456"/>
                  </a:lnTo>
                  <a:lnTo>
                    <a:pt x="13464" y="18397"/>
                  </a:lnTo>
                  <a:cubicBezTo>
                    <a:pt x="23923" y="6676"/>
                    <a:pt x="38871" y="0"/>
                    <a:pt x="54597" y="0"/>
                  </a:cubicBezTo>
                  <a:lnTo>
                    <a:pt x="464074" y="0"/>
                  </a:lnTo>
                  <a:cubicBezTo>
                    <a:pt x="479763" y="0"/>
                    <a:pt x="494748" y="6713"/>
                    <a:pt x="505207" y="18397"/>
                  </a:cubicBezTo>
                  <a:lnTo>
                    <a:pt x="518671" y="32936"/>
                  </a:lnTo>
                  <a:close/>
                </a:path>
              </a:pathLst>
            </a:custGeom>
            <a:solidFill>
              <a:srgbClr val="9FCE6C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125" name="Freihandform: Form 124">
            <a:extLst>
              <a:ext uri="{FF2B5EF4-FFF2-40B4-BE49-F238E27FC236}">
                <a16:creationId xmlns:a16="http://schemas.microsoft.com/office/drawing/2014/main" id="{C57270AF-981B-85A9-F885-F8EF6FE81D76}"/>
              </a:ext>
            </a:extLst>
          </p:cNvPr>
          <p:cNvSpPr/>
          <p:nvPr/>
        </p:nvSpPr>
        <p:spPr>
          <a:xfrm flipH="1">
            <a:off x="10485450" y="3429001"/>
            <a:ext cx="1071453" cy="1964830"/>
          </a:xfrm>
          <a:custGeom>
            <a:avLst/>
            <a:gdLst>
              <a:gd name="connsiteX0" fmla="*/ 48069 w 144170"/>
              <a:gd name="connsiteY0" fmla="*/ 0 h 264379"/>
              <a:gd name="connsiteX1" fmla="*/ 96101 w 144170"/>
              <a:gd name="connsiteY1" fmla="*/ 0 h 264379"/>
              <a:gd name="connsiteX2" fmla="*/ 144170 w 144170"/>
              <a:gd name="connsiteY2" fmla="*/ 264380 h 264379"/>
              <a:gd name="connsiteX3" fmla="*/ 0 w 144170"/>
              <a:gd name="connsiteY3" fmla="*/ 264306 h 264379"/>
              <a:gd name="connsiteX4" fmla="*/ 48069 w 144170"/>
              <a:gd name="connsiteY4" fmla="*/ 0 h 2643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4170" h="264379">
                <a:moveTo>
                  <a:pt x="48069" y="0"/>
                </a:moveTo>
                <a:lnTo>
                  <a:pt x="96101" y="0"/>
                </a:lnTo>
                <a:lnTo>
                  <a:pt x="144170" y="264380"/>
                </a:lnTo>
                <a:lnTo>
                  <a:pt x="0" y="264306"/>
                </a:lnTo>
                <a:lnTo>
                  <a:pt x="48069" y="0"/>
                </a:lnTo>
                <a:close/>
              </a:path>
            </a:pathLst>
          </a:custGeom>
          <a:solidFill>
            <a:srgbClr val="D1D1D1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26" name="Freihandform: Form 125">
            <a:extLst>
              <a:ext uri="{FF2B5EF4-FFF2-40B4-BE49-F238E27FC236}">
                <a16:creationId xmlns:a16="http://schemas.microsoft.com/office/drawing/2014/main" id="{37982AD0-317C-AC45-6C5B-17F7810B5FA5}"/>
              </a:ext>
            </a:extLst>
          </p:cNvPr>
          <p:cNvSpPr/>
          <p:nvPr/>
        </p:nvSpPr>
        <p:spPr>
          <a:xfrm flipH="1">
            <a:off x="11059353" y="4679070"/>
            <a:ext cx="497549" cy="714211"/>
          </a:xfrm>
          <a:custGeom>
            <a:avLst/>
            <a:gdLst>
              <a:gd name="connsiteX0" fmla="*/ 0 w 66948"/>
              <a:gd name="connsiteY0" fmla="*/ 0 h 96101"/>
              <a:gd name="connsiteX1" fmla="*/ 66948 w 66948"/>
              <a:gd name="connsiteY1" fmla="*/ 0 h 96101"/>
              <a:gd name="connsiteX2" fmla="*/ 66948 w 66948"/>
              <a:gd name="connsiteY2" fmla="*/ 96101 h 96101"/>
              <a:gd name="connsiteX3" fmla="*/ 0 w 66948"/>
              <a:gd name="connsiteY3" fmla="*/ 96101 h 961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948" h="96101">
                <a:moveTo>
                  <a:pt x="0" y="0"/>
                </a:moveTo>
                <a:lnTo>
                  <a:pt x="66948" y="0"/>
                </a:lnTo>
                <a:lnTo>
                  <a:pt x="66948" y="96101"/>
                </a:lnTo>
                <a:lnTo>
                  <a:pt x="0" y="96101"/>
                </a:lnTo>
                <a:close/>
              </a:path>
            </a:pathLst>
          </a:custGeom>
          <a:solidFill>
            <a:srgbClr val="1195EB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27" name="Freihandform: Form 126">
            <a:extLst>
              <a:ext uri="{FF2B5EF4-FFF2-40B4-BE49-F238E27FC236}">
                <a16:creationId xmlns:a16="http://schemas.microsoft.com/office/drawing/2014/main" id="{99BD1354-A307-AD32-F5A0-2E882035C342}"/>
              </a:ext>
            </a:extLst>
          </p:cNvPr>
          <p:cNvSpPr/>
          <p:nvPr/>
        </p:nvSpPr>
        <p:spPr>
          <a:xfrm flipH="1">
            <a:off x="10485450" y="5393281"/>
            <a:ext cx="1706550" cy="178068"/>
          </a:xfrm>
          <a:custGeom>
            <a:avLst/>
            <a:gdLst>
              <a:gd name="connsiteX0" fmla="*/ 0 w 229626"/>
              <a:gd name="connsiteY0" fmla="*/ 0 h 23960"/>
              <a:gd name="connsiteX1" fmla="*/ 229626 w 229626"/>
              <a:gd name="connsiteY1" fmla="*/ 0 h 23960"/>
              <a:gd name="connsiteX2" fmla="*/ 229626 w 229626"/>
              <a:gd name="connsiteY2" fmla="*/ 23961 h 23960"/>
              <a:gd name="connsiteX3" fmla="*/ 0 w 229626"/>
              <a:gd name="connsiteY3" fmla="*/ 23961 h 239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626" h="23960">
                <a:moveTo>
                  <a:pt x="0" y="0"/>
                </a:moveTo>
                <a:lnTo>
                  <a:pt x="229626" y="0"/>
                </a:lnTo>
                <a:lnTo>
                  <a:pt x="229626" y="23961"/>
                </a:lnTo>
                <a:lnTo>
                  <a:pt x="0" y="23961"/>
                </a:lnTo>
                <a:close/>
              </a:path>
            </a:pathLst>
          </a:custGeom>
          <a:solidFill>
            <a:srgbClr val="AAAAAA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28" name="Freihandform: Form 127">
            <a:extLst>
              <a:ext uri="{FF2B5EF4-FFF2-40B4-BE49-F238E27FC236}">
                <a16:creationId xmlns:a16="http://schemas.microsoft.com/office/drawing/2014/main" id="{285389BE-B834-38DA-D8B9-5A1CC188D97C}"/>
              </a:ext>
            </a:extLst>
          </p:cNvPr>
          <p:cNvSpPr/>
          <p:nvPr/>
        </p:nvSpPr>
        <p:spPr>
          <a:xfrm flipH="1">
            <a:off x="11556903" y="4142936"/>
            <a:ext cx="635097" cy="1250345"/>
          </a:xfrm>
          <a:custGeom>
            <a:avLst/>
            <a:gdLst>
              <a:gd name="connsiteX0" fmla="*/ 13390 w 85456"/>
              <a:gd name="connsiteY0" fmla="*/ 24035 h 168241"/>
              <a:gd name="connsiteX1" fmla="*/ 13390 w 85456"/>
              <a:gd name="connsiteY1" fmla="*/ 0 h 168241"/>
              <a:gd name="connsiteX2" fmla="*/ 0 w 85456"/>
              <a:gd name="connsiteY2" fmla="*/ 4451 h 168241"/>
              <a:gd name="connsiteX3" fmla="*/ 0 w 85456"/>
              <a:gd name="connsiteY3" fmla="*/ 168242 h 168241"/>
              <a:gd name="connsiteX4" fmla="*/ 85456 w 85456"/>
              <a:gd name="connsiteY4" fmla="*/ 168242 h 168241"/>
              <a:gd name="connsiteX5" fmla="*/ 85456 w 85456"/>
              <a:gd name="connsiteY5" fmla="*/ 0 h 168241"/>
              <a:gd name="connsiteX6" fmla="*/ 13390 w 85456"/>
              <a:gd name="connsiteY6" fmla="*/ 24035 h 168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456" h="168241">
                <a:moveTo>
                  <a:pt x="13390" y="24035"/>
                </a:moveTo>
                <a:lnTo>
                  <a:pt x="13390" y="0"/>
                </a:lnTo>
                <a:lnTo>
                  <a:pt x="0" y="4451"/>
                </a:lnTo>
                <a:lnTo>
                  <a:pt x="0" y="168242"/>
                </a:lnTo>
                <a:lnTo>
                  <a:pt x="85456" y="168242"/>
                </a:lnTo>
                <a:lnTo>
                  <a:pt x="85456" y="0"/>
                </a:lnTo>
                <a:lnTo>
                  <a:pt x="13390" y="24035"/>
                </a:lnTo>
                <a:close/>
              </a:path>
            </a:pathLst>
          </a:custGeom>
          <a:solidFill>
            <a:srgbClr val="1195EB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29" name="Freihandform: Form 128">
            <a:extLst>
              <a:ext uri="{FF2B5EF4-FFF2-40B4-BE49-F238E27FC236}">
                <a16:creationId xmlns:a16="http://schemas.microsoft.com/office/drawing/2014/main" id="{AFCBDB7A-DF14-E8E8-C3CC-8239993F75F3}"/>
              </a:ext>
            </a:extLst>
          </p:cNvPr>
          <p:cNvSpPr/>
          <p:nvPr/>
        </p:nvSpPr>
        <p:spPr>
          <a:xfrm flipH="1">
            <a:off x="12092770" y="4142936"/>
            <a:ext cx="99230" cy="211698"/>
          </a:xfrm>
          <a:custGeom>
            <a:avLst/>
            <a:gdLst>
              <a:gd name="connsiteX0" fmla="*/ 0 w 13352"/>
              <a:gd name="connsiteY0" fmla="*/ 4451 h 28485"/>
              <a:gd name="connsiteX1" fmla="*/ 0 w 13352"/>
              <a:gd name="connsiteY1" fmla="*/ 28485 h 28485"/>
              <a:gd name="connsiteX2" fmla="*/ 13352 w 13352"/>
              <a:gd name="connsiteY2" fmla="*/ 24035 h 28485"/>
              <a:gd name="connsiteX3" fmla="*/ 13352 w 13352"/>
              <a:gd name="connsiteY3" fmla="*/ 0 h 28485"/>
              <a:gd name="connsiteX4" fmla="*/ 0 w 13352"/>
              <a:gd name="connsiteY4" fmla="*/ 4451 h 28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352" h="28485">
                <a:moveTo>
                  <a:pt x="0" y="4451"/>
                </a:moveTo>
                <a:lnTo>
                  <a:pt x="0" y="28485"/>
                </a:lnTo>
                <a:lnTo>
                  <a:pt x="13352" y="24035"/>
                </a:lnTo>
                <a:lnTo>
                  <a:pt x="13352" y="0"/>
                </a:lnTo>
                <a:lnTo>
                  <a:pt x="0" y="4451"/>
                </a:lnTo>
                <a:close/>
              </a:path>
            </a:pathLst>
          </a:custGeom>
          <a:solidFill>
            <a:srgbClr val="FDD35E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30" name="Freihandform: Form 129">
            <a:extLst>
              <a:ext uri="{FF2B5EF4-FFF2-40B4-BE49-F238E27FC236}">
                <a16:creationId xmlns:a16="http://schemas.microsoft.com/office/drawing/2014/main" id="{5804D5FF-873A-3A19-A78F-82F51AD66361}"/>
              </a:ext>
            </a:extLst>
          </p:cNvPr>
          <p:cNvSpPr/>
          <p:nvPr/>
        </p:nvSpPr>
        <p:spPr>
          <a:xfrm flipH="1">
            <a:off x="11556910" y="4142936"/>
            <a:ext cx="535861" cy="356967"/>
          </a:xfrm>
          <a:custGeom>
            <a:avLst/>
            <a:gdLst>
              <a:gd name="connsiteX0" fmla="*/ 72104 w 72103"/>
              <a:gd name="connsiteY0" fmla="*/ 24035 h 48032"/>
              <a:gd name="connsiteX1" fmla="*/ 0 w 72103"/>
              <a:gd name="connsiteY1" fmla="*/ 48032 h 48032"/>
              <a:gd name="connsiteX2" fmla="*/ 0 w 72103"/>
              <a:gd name="connsiteY2" fmla="*/ 24035 h 48032"/>
              <a:gd name="connsiteX3" fmla="*/ 72104 w 72103"/>
              <a:gd name="connsiteY3" fmla="*/ 0 h 48032"/>
              <a:gd name="connsiteX4" fmla="*/ 72104 w 72103"/>
              <a:gd name="connsiteY4" fmla="*/ 24035 h 48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103" h="48032">
                <a:moveTo>
                  <a:pt x="72104" y="24035"/>
                </a:moveTo>
                <a:lnTo>
                  <a:pt x="0" y="48032"/>
                </a:lnTo>
                <a:lnTo>
                  <a:pt x="0" y="24035"/>
                </a:lnTo>
                <a:lnTo>
                  <a:pt x="72104" y="0"/>
                </a:lnTo>
                <a:lnTo>
                  <a:pt x="72104" y="24035"/>
                </a:lnTo>
                <a:close/>
              </a:path>
            </a:pathLst>
          </a:custGeom>
          <a:solidFill>
            <a:srgbClr val="FDD35E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31" name="Freihandform: Form 130">
            <a:extLst>
              <a:ext uri="{FF2B5EF4-FFF2-40B4-BE49-F238E27FC236}">
                <a16:creationId xmlns:a16="http://schemas.microsoft.com/office/drawing/2014/main" id="{12122E02-01D0-C78E-C05C-D41C7C976F31}"/>
              </a:ext>
            </a:extLst>
          </p:cNvPr>
          <p:cNvSpPr/>
          <p:nvPr/>
        </p:nvSpPr>
        <p:spPr>
          <a:xfrm flipH="1">
            <a:off x="11735527" y="4678522"/>
            <a:ext cx="178617" cy="357242"/>
          </a:xfrm>
          <a:custGeom>
            <a:avLst/>
            <a:gdLst>
              <a:gd name="connsiteX0" fmla="*/ 0 w 24034"/>
              <a:gd name="connsiteY0" fmla="*/ 0 h 48069"/>
              <a:gd name="connsiteX1" fmla="*/ 24035 w 24034"/>
              <a:gd name="connsiteY1" fmla="*/ 0 h 48069"/>
              <a:gd name="connsiteX2" fmla="*/ 24035 w 24034"/>
              <a:gd name="connsiteY2" fmla="*/ 48069 h 48069"/>
              <a:gd name="connsiteX3" fmla="*/ 0 w 24034"/>
              <a:gd name="connsiteY3" fmla="*/ 48069 h 480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34" h="48069">
                <a:moveTo>
                  <a:pt x="0" y="0"/>
                </a:moveTo>
                <a:lnTo>
                  <a:pt x="24035" y="0"/>
                </a:lnTo>
                <a:lnTo>
                  <a:pt x="24035" y="48069"/>
                </a:lnTo>
                <a:lnTo>
                  <a:pt x="0" y="48069"/>
                </a:lnTo>
                <a:close/>
              </a:path>
            </a:pathLst>
          </a:custGeom>
          <a:solidFill>
            <a:srgbClr val="BAE5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32" name="Freihandform: Form 131">
            <a:extLst>
              <a:ext uri="{FF2B5EF4-FFF2-40B4-BE49-F238E27FC236}">
                <a16:creationId xmlns:a16="http://schemas.microsoft.com/office/drawing/2014/main" id="{17910229-F232-E5AE-BE57-A4D042046973}"/>
              </a:ext>
            </a:extLst>
          </p:cNvPr>
          <p:cNvSpPr/>
          <p:nvPr/>
        </p:nvSpPr>
        <p:spPr>
          <a:xfrm flipH="1">
            <a:off x="11735527" y="4678522"/>
            <a:ext cx="178617" cy="36936"/>
          </a:xfrm>
          <a:custGeom>
            <a:avLst/>
            <a:gdLst>
              <a:gd name="connsiteX0" fmla="*/ 0 w 24034"/>
              <a:gd name="connsiteY0" fmla="*/ 0 h 4970"/>
              <a:gd name="connsiteX1" fmla="*/ 24035 w 24034"/>
              <a:gd name="connsiteY1" fmla="*/ 0 h 4970"/>
              <a:gd name="connsiteX2" fmla="*/ 24035 w 24034"/>
              <a:gd name="connsiteY2" fmla="*/ 4970 h 4970"/>
              <a:gd name="connsiteX3" fmla="*/ 0 w 24034"/>
              <a:gd name="connsiteY3" fmla="*/ 4970 h 49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034" h="4970">
                <a:moveTo>
                  <a:pt x="0" y="0"/>
                </a:moveTo>
                <a:lnTo>
                  <a:pt x="24035" y="0"/>
                </a:lnTo>
                <a:lnTo>
                  <a:pt x="24035" y="4970"/>
                </a:lnTo>
                <a:lnTo>
                  <a:pt x="0" y="4970"/>
                </a:lnTo>
                <a:close/>
              </a:path>
            </a:pathLst>
          </a:custGeom>
          <a:solidFill>
            <a:srgbClr val="66C2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33" name="Grafik 7">
            <a:extLst>
              <a:ext uri="{FF2B5EF4-FFF2-40B4-BE49-F238E27FC236}">
                <a16:creationId xmlns:a16="http://schemas.microsoft.com/office/drawing/2014/main" id="{04C00ED6-0BDD-6E27-495C-846AEF260349}"/>
              </a:ext>
            </a:extLst>
          </p:cNvPr>
          <p:cNvGrpSpPr/>
          <p:nvPr/>
        </p:nvGrpSpPr>
        <p:grpSpPr>
          <a:xfrm>
            <a:off x="-3091" y="5535954"/>
            <a:ext cx="12195092" cy="579586"/>
            <a:chOff x="-2603060" y="5777451"/>
            <a:chExt cx="3104502" cy="147545"/>
          </a:xfrm>
        </p:grpSpPr>
        <p:sp>
          <p:nvSpPr>
            <p:cNvPr id="136" name="Freihandform: Form 135">
              <a:extLst>
                <a:ext uri="{FF2B5EF4-FFF2-40B4-BE49-F238E27FC236}">
                  <a16:creationId xmlns:a16="http://schemas.microsoft.com/office/drawing/2014/main" id="{DFBC1A31-8360-0C48-38CB-D83A399F7BFC}"/>
                </a:ext>
              </a:extLst>
            </p:cNvPr>
            <p:cNvSpPr/>
            <p:nvPr/>
          </p:nvSpPr>
          <p:spPr>
            <a:xfrm>
              <a:off x="-2603060" y="5885792"/>
              <a:ext cx="261412" cy="39204"/>
            </a:xfrm>
            <a:custGeom>
              <a:avLst/>
              <a:gdLst>
                <a:gd name="connsiteX0" fmla="*/ 241829 w 261412"/>
                <a:gd name="connsiteY0" fmla="*/ 0 h 39204"/>
                <a:gd name="connsiteX1" fmla="*/ 0 w 261412"/>
                <a:gd name="connsiteY1" fmla="*/ 0 h 39204"/>
                <a:gd name="connsiteX2" fmla="*/ 0 w 261412"/>
                <a:gd name="connsiteY2" fmla="*/ 39205 h 39204"/>
                <a:gd name="connsiteX3" fmla="*/ 241829 w 261412"/>
                <a:gd name="connsiteY3" fmla="*/ 39205 h 39204"/>
                <a:gd name="connsiteX4" fmla="*/ 261412 w 261412"/>
                <a:gd name="connsiteY4" fmla="*/ 19621 h 39204"/>
                <a:gd name="connsiteX5" fmla="*/ 241829 w 261412"/>
                <a:gd name="connsiteY5" fmla="*/ 37 h 39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1412" h="39204">
                  <a:moveTo>
                    <a:pt x="241829" y="0"/>
                  </a:moveTo>
                  <a:lnTo>
                    <a:pt x="0" y="0"/>
                  </a:lnTo>
                  <a:lnTo>
                    <a:pt x="0" y="39205"/>
                  </a:lnTo>
                  <a:lnTo>
                    <a:pt x="241829" y="39205"/>
                  </a:lnTo>
                  <a:cubicBezTo>
                    <a:pt x="252659" y="39205"/>
                    <a:pt x="261412" y="30451"/>
                    <a:pt x="261412" y="19621"/>
                  </a:cubicBezTo>
                  <a:cubicBezTo>
                    <a:pt x="261412" y="8791"/>
                    <a:pt x="252659" y="37"/>
                    <a:pt x="241829" y="37"/>
                  </a:cubicBezTo>
                </a:path>
              </a:pathLst>
            </a:custGeom>
            <a:solidFill>
              <a:srgbClr val="AD8653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40" name="Rechteck 139">
              <a:extLst>
                <a:ext uri="{FF2B5EF4-FFF2-40B4-BE49-F238E27FC236}">
                  <a16:creationId xmlns:a16="http://schemas.microsoft.com/office/drawing/2014/main" id="{24C5C0B8-E4DB-D737-5D70-BC782D5C9B42}"/>
                </a:ext>
              </a:extLst>
            </p:cNvPr>
            <p:cNvSpPr/>
            <p:nvPr/>
          </p:nvSpPr>
          <p:spPr>
            <a:xfrm>
              <a:off x="-2602273" y="5777451"/>
              <a:ext cx="3103715" cy="142573"/>
            </a:xfrm>
            <a:prstGeom prst="rect">
              <a:avLst/>
            </a:prstGeom>
            <a:solidFill>
              <a:srgbClr val="D1D1D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141" name="Freihandform: Form 140">
            <a:extLst>
              <a:ext uri="{FF2B5EF4-FFF2-40B4-BE49-F238E27FC236}">
                <a16:creationId xmlns:a16="http://schemas.microsoft.com/office/drawing/2014/main" id="{7C06105D-E32E-5B39-CD75-A1D837AEA794}"/>
              </a:ext>
            </a:extLst>
          </p:cNvPr>
          <p:cNvSpPr/>
          <p:nvPr/>
        </p:nvSpPr>
        <p:spPr>
          <a:xfrm>
            <a:off x="7955817" y="4245497"/>
            <a:ext cx="1592770" cy="480513"/>
          </a:xfrm>
          <a:custGeom>
            <a:avLst/>
            <a:gdLst>
              <a:gd name="connsiteX0" fmla="*/ 0 w 405471"/>
              <a:gd name="connsiteY0" fmla="*/ 122324 h 122324"/>
              <a:gd name="connsiteX1" fmla="*/ 301285 w 405471"/>
              <a:gd name="connsiteY1" fmla="*/ 122324 h 122324"/>
              <a:gd name="connsiteX2" fmla="*/ 405472 w 405471"/>
              <a:gd name="connsiteY2" fmla="*/ 0 h 122324"/>
              <a:gd name="connsiteX3" fmla="*/ 104187 w 405471"/>
              <a:gd name="connsiteY3" fmla="*/ 0 h 122324"/>
              <a:gd name="connsiteX4" fmla="*/ 0 w 405471"/>
              <a:gd name="connsiteY4" fmla="*/ 122324 h 122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5471" h="122324">
                <a:moveTo>
                  <a:pt x="0" y="122324"/>
                </a:moveTo>
                <a:lnTo>
                  <a:pt x="301285" y="122324"/>
                </a:lnTo>
                <a:lnTo>
                  <a:pt x="405472" y="0"/>
                </a:lnTo>
                <a:lnTo>
                  <a:pt x="104187" y="0"/>
                </a:lnTo>
                <a:lnTo>
                  <a:pt x="0" y="122324"/>
                </a:lnTo>
                <a:close/>
              </a:path>
            </a:pathLst>
          </a:custGeom>
          <a:solidFill>
            <a:srgbClr val="968F89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2" name="Freihandform: Form 141">
            <a:extLst>
              <a:ext uri="{FF2B5EF4-FFF2-40B4-BE49-F238E27FC236}">
                <a16:creationId xmlns:a16="http://schemas.microsoft.com/office/drawing/2014/main" id="{36483053-C5D6-621A-5354-458F9330020E}"/>
              </a:ext>
            </a:extLst>
          </p:cNvPr>
          <p:cNvSpPr/>
          <p:nvPr/>
        </p:nvSpPr>
        <p:spPr>
          <a:xfrm>
            <a:off x="9800211" y="5086111"/>
            <a:ext cx="300193" cy="449558"/>
          </a:xfrm>
          <a:custGeom>
            <a:avLst/>
            <a:gdLst>
              <a:gd name="connsiteX0" fmla="*/ 20288 w 76420"/>
              <a:gd name="connsiteY0" fmla="*/ 30912 h 114444"/>
              <a:gd name="connsiteX1" fmla="*/ 17618 w 76420"/>
              <a:gd name="connsiteY1" fmla="*/ 19080 h 114444"/>
              <a:gd name="connsiteX2" fmla="*/ 36719 w 76420"/>
              <a:gd name="connsiteY2" fmla="*/ 53 h 114444"/>
              <a:gd name="connsiteX3" fmla="*/ 58862 w 76420"/>
              <a:gd name="connsiteY3" fmla="*/ 20638 h 114444"/>
              <a:gd name="connsiteX4" fmla="*/ 56081 w 76420"/>
              <a:gd name="connsiteY4" fmla="*/ 30986 h 114444"/>
              <a:gd name="connsiteX5" fmla="*/ 59270 w 76420"/>
              <a:gd name="connsiteY5" fmla="*/ 44376 h 114444"/>
              <a:gd name="connsiteX6" fmla="*/ 76406 w 76420"/>
              <a:gd name="connsiteY6" fmla="*/ 77312 h 114444"/>
              <a:gd name="connsiteX7" fmla="*/ 38833 w 76420"/>
              <a:gd name="connsiteY7" fmla="*/ 114440 h 114444"/>
              <a:gd name="connsiteX8" fmla="*/ 0 w 76420"/>
              <a:gd name="connsiteY8" fmla="*/ 76237 h 114444"/>
              <a:gd name="connsiteX9" fmla="*/ 17173 w 76420"/>
              <a:gd name="connsiteY9" fmla="*/ 44376 h 114444"/>
              <a:gd name="connsiteX10" fmla="*/ 20325 w 76420"/>
              <a:gd name="connsiteY10" fmla="*/ 30912 h 114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6420" h="114444">
                <a:moveTo>
                  <a:pt x="20288" y="30912"/>
                </a:moveTo>
                <a:cubicBezTo>
                  <a:pt x="18322" y="27463"/>
                  <a:pt x="17284" y="23420"/>
                  <a:pt x="17618" y="19080"/>
                </a:cubicBezTo>
                <a:cubicBezTo>
                  <a:pt x="18360" y="8955"/>
                  <a:pt x="26556" y="758"/>
                  <a:pt x="36719" y="53"/>
                </a:cubicBezTo>
                <a:cubicBezTo>
                  <a:pt x="48811" y="-800"/>
                  <a:pt x="58862" y="8732"/>
                  <a:pt x="58862" y="20638"/>
                </a:cubicBezTo>
                <a:cubicBezTo>
                  <a:pt x="58862" y="24421"/>
                  <a:pt x="57861" y="27945"/>
                  <a:pt x="56081" y="30986"/>
                </a:cubicBezTo>
                <a:cubicBezTo>
                  <a:pt x="53447" y="35548"/>
                  <a:pt x="54856" y="41446"/>
                  <a:pt x="59270" y="44376"/>
                </a:cubicBezTo>
                <a:cubicBezTo>
                  <a:pt x="69878" y="51386"/>
                  <a:pt x="76777" y="63552"/>
                  <a:pt x="76406" y="77312"/>
                </a:cubicBezTo>
                <a:cubicBezTo>
                  <a:pt x="75850" y="97638"/>
                  <a:pt x="59159" y="114143"/>
                  <a:pt x="38833" y="114440"/>
                </a:cubicBezTo>
                <a:cubicBezTo>
                  <a:pt x="17432" y="114774"/>
                  <a:pt x="0" y="97564"/>
                  <a:pt x="0" y="76237"/>
                </a:cubicBezTo>
                <a:cubicBezTo>
                  <a:pt x="0" y="62921"/>
                  <a:pt x="6824" y="51201"/>
                  <a:pt x="17173" y="44376"/>
                </a:cubicBezTo>
                <a:cubicBezTo>
                  <a:pt x="21623" y="41446"/>
                  <a:pt x="22959" y="35548"/>
                  <a:pt x="20325" y="30912"/>
                </a:cubicBezTo>
              </a:path>
            </a:pathLst>
          </a:custGeom>
          <a:solidFill>
            <a:srgbClr val="3B631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3" name="Freihandform: Form 142">
            <a:extLst>
              <a:ext uri="{FF2B5EF4-FFF2-40B4-BE49-F238E27FC236}">
                <a16:creationId xmlns:a16="http://schemas.microsoft.com/office/drawing/2014/main" id="{F51B6C72-DA90-6731-85A9-A13B05DE2CAE}"/>
              </a:ext>
            </a:extLst>
          </p:cNvPr>
          <p:cNvSpPr/>
          <p:nvPr/>
        </p:nvSpPr>
        <p:spPr>
          <a:xfrm>
            <a:off x="9139323" y="4245497"/>
            <a:ext cx="809644" cy="480513"/>
          </a:xfrm>
          <a:custGeom>
            <a:avLst/>
            <a:gdLst>
              <a:gd name="connsiteX0" fmla="*/ 104187 w 206111"/>
              <a:gd name="connsiteY0" fmla="*/ 0 h 122324"/>
              <a:gd name="connsiteX1" fmla="*/ 0 w 206111"/>
              <a:gd name="connsiteY1" fmla="*/ 122324 h 122324"/>
              <a:gd name="connsiteX2" fmla="*/ 206111 w 206111"/>
              <a:gd name="connsiteY2" fmla="*/ 122324 h 122324"/>
              <a:gd name="connsiteX3" fmla="*/ 104187 w 206111"/>
              <a:gd name="connsiteY3" fmla="*/ 0 h 122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6111" h="122324">
                <a:moveTo>
                  <a:pt x="104187" y="0"/>
                </a:moveTo>
                <a:lnTo>
                  <a:pt x="0" y="122324"/>
                </a:lnTo>
                <a:lnTo>
                  <a:pt x="206111" y="122324"/>
                </a:lnTo>
                <a:lnTo>
                  <a:pt x="104187" y="0"/>
                </a:lnTo>
                <a:close/>
              </a:path>
            </a:pathLst>
          </a:custGeom>
          <a:solidFill>
            <a:srgbClr val="E2C39A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4" name="Freihandform: Form 143">
            <a:extLst>
              <a:ext uri="{FF2B5EF4-FFF2-40B4-BE49-F238E27FC236}">
                <a16:creationId xmlns:a16="http://schemas.microsoft.com/office/drawing/2014/main" id="{DD8FB013-D915-8E59-DB2D-82A059C3F499}"/>
              </a:ext>
            </a:extLst>
          </p:cNvPr>
          <p:cNvSpPr/>
          <p:nvPr/>
        </p:nvSpPr>
        <p:spPr>
          <a:xfrm>
            <a:off x="7955817" y="4726009"/>
            <a:ext cx="1183503" cy="809641"/>
          </a:xfrm>
          <a:custGeom>
            <a:avLst/>
            <a:gdLst>
              <a:gd name="connsiteX0" fmla="*/ 301285 w 301284"/>
              <a:gd name="connsiteY0" fmla="*/ 206111 h 206110"/>
              <a:gd name="connsiteX1" fmla="*/ 265604 w 301284"/>
              <a:gd name="connsiteY1" fmla="*/ 206111 h 206110"/>
              <a:gd name="connsiteX2" fmla="*/ 265604 w 301284"/>
              <a:gd name="connsiteY2" fmla="*/ 201586 h 206110"/>
              <a:gd name="connsiteX3" fmla="*/ 182336 w 301284"/>
              <a:gd name="connsiteY3" fmla="*/ 201586 h 206110"/>
              <a:gd name="connsiteX4" fmla="*/ 182336 w 301284"/>
              <a:gd name="connsiteY4" fmla="*/ 206111 h 206110"/>
              <a:gd name="connsiteX5" fmla="*/ 0 w 301284"/>
              <a:gd name="connsiteY5" fmla="*/ 206111 h 206110"/>
              <a:gd name="connsiteX6" fmla="*/ 0 w 301284"/>
              <a:gd name="connsiteY6" fmla="*/ 0 h 206110"/>
              <a:gd name="connsiteX7" fmla="*/ 301285 w 301284"/>
              <a:gd name="connsiteY7" fmla="*/ 0 h 206110"/>
              <a:gd name="connsiteX8" fmla="*/ 301285 w 301284"/>
              <a:gd name="connsiteY8" fmla="*/ 206111 h 2061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1284" h="206110">
                <a:moveTo>
                  <a:pt x="301285" y="206111"/>
                </a:moveTo>
                <a:lnTo>
                  <a:pt x="265604" y="206111"/>
                </a:lnTo>
                <a:lnTo>
                  <a:pt x="265604" y="201586"/>
                </a:lnTo>
                <a:lnTo>
                  <a:pt x="182336" y="201586"/>
                </a:lnTo>
                <a:lnTo>
                  <a:pt x="182336" y="206111"/>
                </a:lnTo>
                <a:lnTo>
                  <a:pt x="0" y="206111"/>
                </a:lnTo>
                <a:lnTo>
                  <a:pt x="0" y="0"/>
                </a:lnTo>
                <a:lnTo>
                  <a:pt x="301285" y="0"/>
                </a:lnTo>
                <a:lnTo>
                  <a:pt x="301285" y="206111"/>
                </a:lnTo>
                <a:close/>
              </a:path>
            </a:pathLst>
          </a:custGeom>
          <a:solidFill>
            <a:srgbClr val="F2DEC3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5" name="Freihandform: Form 144">
            <a:extLst>
              <a:ext uri="{FF2B5EF4-FFF2-40B4-BE49-F238E27FC236}">
                <a16:creationId xmlns:a16="http://schemas.microsoft.com/office/drawing/2014/main" id="{595DA611-49D2-8CF4-82F4-691AA4A644D2}"/>
              </a:ext>
            </a:extLst>
          </p:cNvPr>
          <p:cNvSpPr/>
          <p:nvPr/>
        </p:nvSpPr>
        <p:spPr>
          <a:xfrm>
            <a:off x="9139323" y="4726009"/>
            <a:ext cx="809644" cy="809641"/>
          </a:xfrm>
          <a:custGeom>
            <a:avLst/>
            <a:gdLst>
              <a:gd name="connsiteX0" fmla="*/ 0 w 206111"/>
              <a:gd name="connsiteY0" fmla="*/ 206111 h 206110"/>
              <a:gd name="connsiteX1" fmla="*/ 206111 w 206111"/>
              <a:gd name="connsiteY1" fmla="*/ 206111 h 206110"/>
              <a:gd name="connsiteX2" fmla="*/ 206111 w 206111"/>
              <a:gd name="connsiteY2" fmla="*/ 154036 h 206110"/>
              <a:gd name="connsiteX3" fmla="*/ 201586 w 206111"/>
              <a:gd name="connsiteY3" fmla="*/ 154036 h 206110"/>
              <a:gd name="connsiteX4" fmla="*/ 201586 w 206111"/>
              <a:gd name="connsiteY4" fmla="*/ 97399 h 206110"/>
              <a:gd name="connsiteX5" fmla="*/ 206111 w 206111"/>
              <a:gd name="connsiteY5" fmla="*/ 97399 h 206110"/>
              <a:gd name="connsiteX6" fmla="*/ 206111 w 206111"/>
              <a:gd name="connsiteY6" fmla="*/ 0 h 206110"/>
              <a:gd name="connsiteX7" fmla="*/ 0 w 206111"/>
              <a:gd name="connsiteY7" fmla="*/ 0 h 206110"/>
              <a:gd name="connsiteX8" fmla="*/ 0 w 206111"/>
              <a:gd name="connsiteY8" fmla="*/ 206111 h 2061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6111" h="206110">
                <a:moveTo>
                  <a:pt x="0" y="206111"/>
                </a:moveTo>
                <a:lnTo>
                  <a:pt x="206111" y="206111"/>
                </a:lnTo>
                <a:lnTo>
                  <a:pt x="206111" y="154036"/>
                </a:lnTo>
                <a:lnTo>
                  <a:pt x="201586" y="154036"/>
                </a:lnTo>
                <a:lnTo>
                  <a:pt x="201586" y="97399"/>
                </a:lnTo>
                <a:lnTo>
                  <a:pt x="206111" y="97399"/>
                </a:lnTo>
                <a:lnTo>
                  <a:pt x="206111" y="0"/>
                </a:lnTo>
                <a:lnTo>
                  <a:pt x="0" y="0"/>
                </a:lnTo>
                <a:lnTo>
                  <a:pt x="0" y="206111"/>
                </a:lnTo>
                <a:close/>
              </a:path>
            </a:pathLst>
          </a:custGeom>
          <a:solidFill>
            <a:srgbClr val="E2C39A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6" name="Freihandform: Form 145">
            <a:extLst>
              <a:ext uri="{FF2B5EF4-FFF2-40B4-BE49-F238E27FC236}">
                <a16:creationId xmlns:a16="http://schemas.microsoft.com/office/drawing/2014/main" id="{3DD608E4-9CDB-C1C7-85ED-AB1FBBA2B979}"/>
              </a:ext>
            </a:extLst>
          </p:cNvPr>
          <p:cNvSpPr/>
          <p:nvPr/>
        </p:nvSpPr>
        <p:spPr>
          <a:xfrm>
            <a:off x="8130657" y="4325487"/>
            <a:ext cx="1240033" cy="302613"/>
          </a:xfrm>
          <a:custGeom>
            <a:avLst/>
            <a:gdLst>
              <a:gd name="connsiteX0" fmla="*/ 0 w 315675"/>
              <a:gd name="connsiteY0" fmla="*/ 77036 h 77036"/>
              <a:gd name="connsiteX1" fmla="*/ 65613 w 315675"/>
              <a:gd name="connsiteY1" fmla="*/ 0 h 77036"/>
              <a:gd name="connsiteX2" fmla="*/ 315676 w 315675"/>
              <a:gd name="connsiteY2" fmla="*/ 0 h 77036"/>
              <a:gd name="connsiteX3" fmla="*/ 250063 w 315675"/>
              <a:gd name="connsiteY3" fmla="*/ 77036 h 77036"/>
              <a:gd name="connsiteX4" fmla="*/ 0 w 315675"/>
              <a:gd name="connsiteY4" fmla="*/ 77036 h 77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5675" h="77036">
                <a:moveTo>
                  <a:pt x="0" y="77036"/>
                </a:moveTo>
                <a:lnTo>
                  <a:pt x="65613" y="0"/>
                </a:lnTo>
                <a:lnTo>
                  <a:pt x="315676" y="0"/>
                </a:lnTo>
                <a:lnTo>
                  <a:pt x="250063" y="77036"/>
                </a:lnTo>
                <a:lnTo>
                  <a:pt x="0" y="77036"/>
                </a:lnTo>
                <a:close/>
              </a:path>
            </a:pathLst>
          </a:custGeom>
          <a:solidFill>
            <a:srgbClr val="00185D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7" name="Freihandform: Form 146">
            <a:extLst>
              <a:ext uri="{FF2B5EF4-FFF2-40B4-BE49-F238E27FC236}">
                <a16:creationId xmlns:a16="http://schemas.microsoft.com/office/drawing/2014/main" id="{7239EB35-D219-C6F1-EB2F-C7847F57B0C5}"/>
              </a:ext>
            </a:extLst>
          </p:cNvPr>
          <p:cNvSpPr/>
          <p:nvPr/>
        </p:nvSpPr>
        <p:spPr>
          <a:xfrm>
            <a:off x="8130657" y="4325487"/>
            <a:ext cx="1240033" cy="302613"/>
          </a:xfrm>
          <a:custGeom>
            <a:avLst/>
            <a:gdLst>
              <a:gd name="connsiteX0" fmla="*/ 0 w 315675"/>
              <a:gd name="connsiteY0" fmla="*/ 77036 h 77036"/>
              <a:gd name="connsiteX1" fmla="*/ 65613 w 315675"/>
              <a:gd name="connsiteY1" fmla="*/ 0 h 77036"/>
              <a:gd name="connsiteX2" fmla="*/ 315676 w 315675"/>
              <a:gd name="connsiteY2" fmla="*/ 0 h 77036"/>
              <a:gd name="connsiteX3" fmla="*/ 250063 w 315675"/>
              <a:gd name="connsiteY3" fmla="*/ 77036 h 77036"/>
              <a:gd name="connsiteX4" fmla="*/ 0 w 315675"/>
              <a:gd name="connsiteY4" fmla="*/ 77036 h 77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5675" h="77036">
                <a:moveTo>
                  <a:pt x="0" y="77036"/>
                </a:moveTo>
                <a:lnTo>
                  <a:pt x="65613" y="0"/>
                </a:lnTo>
                <a:lnTo>
                  <a:pt x="315676" y="0"/>
                </a:lnTo>
                <a:lnTo>
                  <a:pt x="250063" y="77036"/>
                </a:lnTo>
                <a:lnTo>
                  <a:pt x="0" y="77036"/>
                </a:lnTo>
                <a:close/>
              </a:path>
            </a:pathLst>
          </a:custGeom>
          <a:solidFill>
            <a:srgbClr val="00185D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8" name="Freihandform: Form 147">
            <a:extLst>
              <a:ext uri="{FF2B5EF4-FFF2-40B4-BE49-F238E27FC236}">
                <a16:creationId xmlns:a16="http://schemas.microsoft.com/office/drawing/2014/main" id="{BD334B14-8D61-63CF-47EF-5C606CFD5588}"/>
              </a:ext>
            </a:extLst>
          </p:cNvPr>
          <p:cNvSpPr/>
          <p:nvPr/>
        </p:nvSpPr>
        <p:spPr>
          <a:xfrm>
            <a:off x="8255373" y="4343262"/>
            <a:ext cx="996572" cy="266917"/>
          </a:xfrm>
          <a:custGeom>
            <a:avLst/>
            <a:gdLst>
              <a:gd name="connsiteX0" fmla="*/ 20363 w 253697"/>
              <a:gd name="connsiteY0" fmla="*/ 21142 h 67949"/>
              <a:gd name="connsiteX1" fmla="*/ 253698 w 253697"/>
              <a:gd name="connsiteY1" fmla="*/ 21142 h 67949"/>
              <a:gd name="connsiteX2" fmla="*/ 0 w 253697"/>
              <a:gd name="connsiteY2" fmla="*/ 46808 h 67949"/>
              <a:gd name="connsiteX3" fmla="*/ 231072 w 253697"/>
              <a:gd name="connsiteY3" fmla="*/ 46808 h 67949"/>
              <a:gd name="connsiteX4" fmla="*/ 71807 w 253697"/>
              <a:gd name="connsiteY4" fmla="*/ 0 h 67949"/>
              <a:gd name="connsiteX5" fmla="*/ 53781 w 253697"/>
              <a:gd name="connsiteY5" fmla="*/ 21142 h 67949"/>
              <a:gd name="connsiteX6" fmla="*/ 31898 w 253697"/>
              <a:gd name="connsiteY6" fmla="*/ 46808 h 67949"/>
              <a:gd name="connsiteX7" fmla="*/ 13872 w 253697"/>
              <a:gd name="connsiteY7" fmla="*/ 67949 h 67949"/>
              <a:gd name="connsiteX8" fmla="*/ 113422 w 253697"/>
              <a:gd name="connsiteY8" fmla="*/ 0 h 67949"/>
              <a:gd name="connsiteX9" fmla="*/ 95396 w 253697"/>
              <a:gd name="connsiteY9" fmla="*/ 21142 h 67949"/>
              <a:gd name="connsiteX10" fmla="*/ 73513 w 253697"/>
              <a:gd name="connsiteY10" fmla="*/ 46808 h 67949"/>
              <a:gd name="connsiteX11" fmla="*/ 55487 w 253697"/>
              <a:gd name="connsiteY11" fmla="*/ 67949 h 67949"/>
              <a:gd name="connsiteX12" fmla="*/ 155037 w 253697"/>
              <a:gd name="connsiteY12" fmla="*/ 0 h 67949"/>
              <a:gd name="connsiteX13" fmla="*/ 137011 w 253697"/>
              <a:gd name="connsiteY13" fmla="*/ 21142 h 67949"/>
              <a:gd name="connsiteX14" fmla="*/ 115128 w 253697"/>
              <a:gd name="connsiteY14" fmla="*/ 46808 h 67949"/>
              <a:gd name="connsiteX15" fmla="*/ 97102 w 253697"/>
              <a:gd name="connsiteY15" fmla="*/ 67949 h 67949"/>
              <a:gd name="connsiteX16" fmla="*/ 138755 w 253697"/>
              <a:gd name="connsiteY16" fmla="*/ 67949 h 67949"/>
              <a:gd name="connsiteX17" fmla="*/ 156781 w 253697"/>
              <a:gd name="connsiteY17" fmla="*/ 46808 h 67949"/>
              <a:gd name="connsiteX18" fmla="*/ 178664 w 253697"/>
              <a:gd name="connsiteY18" fmla="*/ 21142 h 67949"/>
              <a:gd name="connsiteX19" fmla="*/ 196690 w 253697"/>
              <a:gd name="connsiteY19" fmla="*/ 0 h 67949"/>
              <a:gd name="connsiteX20" fmla="*/ 180444 w 253697"/>
              <a:gd name="connsiteY20" fmla="*/ 67949 h 67949"/>
              <a:gd name="connsiteX21" fmla="*/ 198433 w 253697"/>
              <a:gd name="connsiteY21" fmla="*/ 46808 h 67949"/>
              <a:gd name="connsiteX22" fmla="*/ 220317 w 253697"/>
              <a:gd name="connsiteY22" fmla="*/ 21142 h 67949"/>
              <a:gd name="connsiteX23" fmla="*/ 238305 w 253697"/>
              <a:gd name="connsiteY23" fmla="*/ 0 h 67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253697" h="67949">
                <a:moveTo>
                  <a:pt x="20363" y="21142"/>
                </a:moveTo>
                <a:lnTo>
                  <a:pt x="253698" y="21142"/>
                </a:lnTo>
                <a:moveTo>
                  <a:pt x="0" y="46808"/>
                </a:moveTo>
                <a:lnTo>
                  <a:pt x="231072" y="46808"/>
                </a:lnTo>
                <a:moveTo>
                  <a:pt x="71807" y="0"/>
                </a:moveTo>
                <a:lnTo>
                  <a:pt x="53781" y="21142"/>
                </a:lnTo>
                <a:lnTo>
                  <a:pt x="31898" y="46808"/>
                </a:lnTo>
                <a:lnTo>
                  <a:pt x="13872" y="67949"/>
                </a:lnTo>
                <a:moveTo>
                  <a:pt x="113422" y="0"/>
                </a:moveTo>
                <a:lnTo>
                  <a:pt x="95396" y="21142"/>
                </a:lnTo>
                <a:lnTo>
                  <a:pt x="73513" y="46808"/>
                </a:lnTo>
                <a:lnTo>
                  <a:pt x="55487" y="67949"/>
                </a:lnTo>
                <a:moveTo>
                  <a:pt x="155037" y="0"/>
                </a:moveTo>
                <a:lnTo>
                  <a:pt x="137011" y="21142"/>
                </a:lnTo>
                <a:lnTo>
                  <a:pt x="115128" y="46808"/>
                </a:lnTo>
                <a:lnTo>
                  <a:pt x="97102" y="67949"/>
                </a:lnTo>
                <a:moveTo>
                  <a:pt x="138755" y="67949"/>
                </a:moveTo>
                <a:lnTo>
                  <a:pt x="156781" y="46808"/>
                </a:lnTo>
                <a:lnTo>
                  <a:pt x="178664" y="21142"/>
                </a:lnTo>
                <a:lnTo>
                  <a:pt x="196690" y="0"/>
                </a:lnTo>
                <a:moveTo>
                  <a:pt x="180444" y="67949"/>
                </a:moveTo>
                <a:lnTo>
                  <a:pt x="198433" y="46808"/>
                </a:lnTo>
                <a:lnTo>
                  <a:pt x="220317" y="21142"/>
                </a:lnTo>
                <a:lnTo>
                  <a:pt x="238305" y="0"/>
                </a:lnTo>
              </a:path>
            </a:pathLst>
          </a:custGeom>
          <a:noFill/>
          <a:ln w="2262" cap="rnd">
            <a:solidFill>
              <a:srgbClr val="1195EB"/>
            </a:solidFill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49" name="Freihandform: Form 148">
            <a:extLst>
              <a:ext uri="{FF2B5EF4-FFF2-40B4-BE49-F238E27FC236}">
                <a16:creationId xmlns:a16="http://schemas.microsoft.com/office/drawing/2014/main" id="{659F6DA7-6F09-BB0B-01FC-E0A7A49B4E69}"/>
              </a:ext>
            </a:extLst>
          </p:cNvPr>
          <p:cNvSpPr/>
          <p:nvPr/>
        </p:nvSpPr>
        <p:spPr>
          <a:xfrm>
            <a:off x="9459565" y="4530193"/>
            <a:ext cx="169007" cy="382602"/>
          </a:xfrm>
          <a:custGeom>
            <a:avLst/>
            <a:gdLst>
              <a:gd name="connsiteX0" fmla="*/ 0 w 43024"/>
              <a:gd name="connsiteY0" fmla="*/ 0 h 97399"/>
              <a:gd name="connsiteX1" fmla="*/ 43025 w 43024"/>
              <a:gd name="connsiteY1" fmla="*/ 0 h 97399"/>
              <a:gd name="connsiteX2" fmla="*/ 43025 w 43024"/>
              <a:gd name="connsiteY2" fmla="*/ 97399 h 97399"/>
              <a:gd name="connsiteX3" fmla="*/ 0 w 43024"/>
              <a:gd name="connsiteY3" fmla="*/ 97399 h 97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024" h="97399">
                <a:moveTo>
                  <a:pt x="0" y="0"/>
                </a:moveTo>
                <a:lnTo>
                  <a:pt x="43025" y="0"/>
                </a:lnTo>
                <a:lnTo>
                  <a:pt x="43025" y="97399"/>
                </a:lnTo>
                <a:lnTo>
                  <a:pt x="0" y="97399"/>
                </a:lnTo>
                <a:close/>
              </a:path>
            </a:pathLst>
          </a:custGeom>
          <a:solidFill>
            <a:srgbClr val="625A5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50" name="Freihandform: Form 149">
            <a:extLst>
              <a:ext uri="{FF2B5EF4-FFF2-40B4-BE49-F238E27FC236}">
                <a16:creationId xmlns:a16="http://schemas.microsoft.com/office/drawing/2014/main" id="{A83A8DD5-EAF5-F6C3-1712-B2E1C4A3BD33}"/>
              </a:ext>
            </a:extLst>
          </p:cNvPr>
          <p:cNvSpPr/>
          <p:nvPr/>
        </p:nvSpPr>
        <p:spPr>
          <a:xfrm>
            <a:off x="9477340" y="4547968"/>
            <a:ext cx="133457" cy="364827"/>
          </a:xfrm>
          <a:custGeom>
            <a:avLst/>
            <a:gdLst>
              <a:gd name="connsiteX0" fmla="*/ 0 w 33974"/>
              <a:gd name="connsiteY0" fmla="*/ 0 h 92874"/>
              <a:gd name="connsiteX1" fmla="*/ 33975 w 33974"/>
              <a:gd name="connsiteY1" fmla="*/ 0 h 92874"/>
              <a:gd name="connsiteX2" fmla="*/ 33975 w 33974"/>
              <a:gd name="connsiteY2" fmla="*/ 92874 h 92874"/>
              <a:gd name="connsiteX3" fmla="*/ 0 w 33974"/>
              <a:gd name="connsiteY3" fmla="*/ 92874 h 92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974" h="92874">
                <a:moveTo>
                  <a:pt x="0" y="0"/>
                </a:moveTo>
                <a:lnTo>
                  <a:pt x="33975" y="0"/>
                </a:lnTo>
                <a:lnTo>
                  <a:pt x="33975" y="92874"/>
                </a:lnTo>
                <a:lnTo>
                  <a:pt x="0" y="92874"/>
                </a:lnTo>
                <a:close/>
              </a:path>
            </a:pathLst>
          </a:custGeom>
          <a:solidFill>
            <a:srgbClr val="BAE5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51" name="Freihandform: Form 150">
            <a:extLst>
              <a:ext uri="{FF2B5EF4-FFF2-40B4-BE49-F238E27FC236}">
                <a16:creationId xmlns:a16="http://schemas.microsoft.com/office/drawing/2014/main" id="{330BF017-8981-0006-4D33-E6D8F80907D5}"/>
              </a:ext>
            </a:extLst>
          </p:cNvPr>
          <p:cNvSpPr/>
          <p:nvPr/>
        </p:nvSpPr>
        <p:spPr>
          <a:xfrm>
            <a:off x="9477340" y="4547968"/>
            <a:ext cx="133457" cy="26661"/>
          </a:xfrm>
          <a:custGeom>
            <a:avLst/>
            <a:gdLst>
              <a:gd name="connsiteX0" fmla="*/ 0 w 33974"/>
              <a:gd name="connsiteY0" fmla="*/ 0 h 6787"/>
              <a:gd name="connsiteX1" fmla="*/ 33975 w 33974"/>
              <a:gd name="connsiteY1" fmla="*/ 0 h 6787"/>
              <a:gd name="connsiteX2" fmla="*/ 33975 w 33974"/>
              <a:gd name="connsiteY2" fmla="*/ 6788 h 6787"/>
              <a:gd name="connsiteX3" fmla="*/ 0 w 33974"/>
              <a:gd name="connsiteY3" fmla="*/ 6788 h 6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974" h="6787">
                <a:moveTo>
                  <a:pt x="0" y="0"/>
                </a:moveTo>
                <a:lnTo>
                  <a:pt x="33975" y="0"/>
                </a:lnTo>
                <a:lnTo>
                  <a:pt x="33975" y="6788"/>
                </a:lnTo>
                <a:lnTo>
                  <a:pt x="0" y="6788"/>
                </a:lnTo>
                <a:close/>
              </a:path>
            </a:pathLst>
          </a:custGeom>
          <a:solidFill>
            <a:srgbClr val="66C2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52" name="Freihandform: Form 151">
            <a:extLst>
              <a:ext uri="{FF2B5EF4-FFF2-40B4-BE49-F238E27FC236}">
                <a16:creationId xmlns:a16="http://schemas.microsoft.com/office/drawing/2014/main" id="{51966549-5606-DDA9-B60C-4884CE332085}"/>
              </a:ext>
            </a:extLst>
          </p:cNvPr>
          <p:cNvSpPr/>
          <p:nvPr/>
        </p:nvSpPr>
        <p:spPr>
          <a:xfrm>
            <a:off x="8649925" y="5099726"/>
            <a:ext cx="373713" cy="427183"/>
          </a:xfrm>
          <a:custGeom>
            <a:avLst/>
            <a:gdLst>
              <a:gd name="connsiteX0" fmla="*/ 0 w 95136"/>
              <a:gd name="connsiteY0" fmla="*/ 0 h 108748"/>
              <a:gd name="connsiteX1" fmla="*/ 95137 w 95136"/>
              <a:gd name="connsiteY1" fmla="*/ 0 h 108748"/>
              <a:gd name="connsiteX2" fmla="*/ 95137 w 95136"/>
              <a:gd name="connsiteY2" fmla="*/ 108749 h 108748"/>
              <a:gd name="connsiteX3" fmla="*/ 0 w 95136"/>
              <a:gd name="connsiteY3" fmla="*/ 108749 h 108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136" h="108748">
                <a:moveTo>
                  <a:pt x="0" y="0"/>
                </a:moveTo>
                <a:lnTo>
                  <a:pt x="95137" y="0"/>
                </a:lnTo>
                <a:lnTo>
                  <a:pt x="95137" y="108749"/>
                </a:lnTo>
                <a:lnTo>
                  <a:pt x="0" y="108749"/>
                </a:lnTo>
                <a:close/>
              </a:path>
            </a:pathLst>
          </a:custGeom>
          <a:solidFill>
            <a:srgbClr val="BAE5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53" name="Freihandform: Form 152">
            <a:extLst>
              <a:ext uri="{FF2B5EF4-FFF2-40B4-BE49-F238E27FC236}">
                <a16:creationId xmlns:a16="http://schemas.microsoft.com/office/drawing/2014/main" id="{3151D222-F50C-5FCE-C37F-8E787D8D2986}"/>
              </a:ext>
            </a:extLst>
          </p:cNvPr>
          <p:cNvSpPr/>
          <p:nvPr/>
        </p:nvSpPr>
        <p:spPr>
          <a:xfrm>
            <a:off x="8649925" y="5099726"/>
            <a:ext cx="373713" cy="44436"/>
          </a:xfrm>
          <a:custGeom>
            <a:avLst/>
            <a:gdLst>
              <a:gd name="connsiteX0" fmla="*/ 0 w 95136"/>
              <a:gd name="connsiteY0" fmla="*/ 0 h 11312"/>
              <a:gd name="connsiteX1" fmla="*/ 95137 w 95136"/>
              <a:gd name="connsiteY1" fmla="*/ 0 h 11312"/>
              <a:gd name="connsiteX2" fmla="*/ 95137 w 95136"/>
              <a:gd name="connsiteY2" fmla="*/ 11312 h 11312"/>
              <a:gd name="connsiteX3" fmla="*/ 0 w 95136"/>
              <a:gd name="connsiteY3" fmla="*/ 11312 h 11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136" h="11312">
                <a:moveTo>
                  <a:pt x="0" y="0"/>
                </a:moveTo>
                <a:lnTo>
                  <a:pt x="95137" y="0"/>
                </a:lnTo>
                <a:lnTo>
                  <a:pt x="95137" y="11312"/>
                </a:lnTo>
                <a:lnTo>
                  <a:pt x="0" y="11312"/>
                </a:lnTo>
                <a:close/>
              </a:path>
            </a:pathLst>
          </a:custGeom>
          <a:solidFill>
            <a:srgbClr val="66C2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54" name="Freihandform: Form 153">
            <a:extLst>
              <a:ext uri="{FF2B5EF4-FFF2-40B4-BE49-F238E27FC236}">
                <a16:creationId xmlns:a16="http://schemas.microsoft.com/office/drawing/2014/main" id="{CE5D9402-512D-A691-B342-BEBE347830CA}"/>
              </a:ext>
            </a:extLst>
          </p:cNvPr>
          <p:cNvSpPr/>
          <p:nvPr/>
        </p:nvSpPr>
        <p:spPr>
          <a:xfrm>
            <a:off x="8649921" y="5099726"/>
            <a:ext cx="373713" cy="436073"/>
          </a:xfrm>
          <a:custGeom>
            <a:avLst/>
            <a:gdLst>
              <a:gd name="connsiteX0" fmla="*/ 95137 w 95136"/>
              <a:gd name="connsiteY0" fmla="*/ 0 h 111011"/>
              <a:gd name="connsiteX1" fmla="*/ 0 w 95136"/>
              <a:gd name="connsiteY1" fmla="*/ 0 h 111011"/>
              <a:gd name="connsiteX2" fmla="*/ 0 w 95136"/>
              <a:gd name="connsiteY2" fmla="*/ 111011 h 111011"/>
              <a:gd name="connsiteX3" fmla="*/ 95137 w 95136"/>
              <a:gd name="connsiteY3" fmla="*/ 111011 h 111011"/>
              <a:gd name="connsiteX4" fmla="*/ 95137 w 95136"/>
              <a:gd name="connsiteY4" fmla="*/ 0 h 111011"/>
              <a:gd name="connsiteX5" fmla="*/ 90612 w 95136"/>
              <a:gd name="connsiteY5" fmla="*/ 106449 h 111011"/>
              <a:gd name="connsiteX6" fmla="*/ 4525 w 95136"/>
              <a:gd name="connsiteY6" fmla="*/ 106449 h 111011"/>
              <a:gd name="connsiteX7" fmla="*/ 4525 w 95136"/>
              <a:gd name="connsiteY7" fmla="*/ 4525 h 111011"/>
              <a:gd name="connsiteX8" fmla="*/ 90612 w 95136"/>
              <a:gd name="connsiteY8" fmla="*/ 4525 h 111011"/>
              <a:gd name="connsiteX9" fmla="*/ 90612 w 95136"/>
              <a:gd name="connsiteY9" fmla="*/ 106449 h 1110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5136" h="111011">
                <a:moveTo>
                  <a:pt x="95137" y="0"/>
                </a:moveTo>
                <a:lnTo>
                  <a:pt x="0" y="0"/>
                </a:lnTo>
                <a:lnTo>
                  <a:pt x="0" y="111011"/>
                </a:lnTo>
                <a:lnTo>
                  <a:pt x="95137" y="111011"/>
                </a:lnTo>
                <a:lnTo>
                  <a:pt x="95137" y="0"/>
                </a:lnTo>
                <a:close/>
                <a:moveTo>
                  <a:pt x="90612" y="106449"/>
                </a:moveTo>
                <a:lnTo>
                  <a:pt x="4525" y="106449"/>
                </a:lnTo>
                <a:lnTo>
                  <a:pt x="4525" y="4525"/>
                </a:lnTo>
                <a:lnTo>
                  <a:pt x="90612" y="4525"/>
                </a:lnTo>
                <a:lnTo>
                  <a:pt x="90612" y="106449"/>
                </a:lnTo>
                <a:close/>
              </a:path>
            </a:pathLst>
          </a:custGeom>
          <a:solidFill>
            <a:srgbClr val="625A5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55" name="Freihandform: Form 154">
            <a:extLst>
              <a:ext uri="{FF2B5EF4-FFF2-40B4-BE49-F238E27FC236}">
                <a16:creationId xmlns:a16="http://schemas.microsoft.com/office/drawing/2014/main" id="{D1E60ECC-B27E-04DE-6CE5-84A790B55E39}"/>
              </a:ext>
            </a:extLst>
          </p:cNvPr>
          <p:cNvSpPr/>
          <p:nvPr/>
        </p:nvSpPr>
        <p:spPr>
          <a:xfrm>
            <a:off x="8836707" y="5099726"/>
            <a:ext cx="14570" cy="427038"/>
          </a:xfrm>
          <a:custGeom>
            <a:avLst/>
            <a:gdLst>
              <a:gd name="connsiteX0" fmla="*/ 0 w 3709"/>
              <a:gd name="connsiteY0" fmla="*/ 0 h 108711"/>
              <a:gd name="connsiteX1" fmla="*/ 0 w 3709"/>
              <a:gd name="connsiteY1" fmla="*/ 108712 h 1087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709" h="108711">
                <a:moveTo>
                  <a:pt x="0" y="0"/>
                </a:moveTo>
                <a:lnTo>
                  <a:pt x="0" y="108712"/>
                </a:lnTo>
              </a:path>
            </a:pathLst>
          </a:custGeom>
          <a:ln w="4525" cap="flat">
            <a:solidFill>
              <a:srgbClr val="625A55"/>
            </a:solidFill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56" name="Freihandform: Form 155">
            <a:extLst>
              <a:ext uri="{FF2B5EF4-FFF2-40B4-BE49-F238E27FC236}">
                <a16:creationId xmlns:a16="http://schemas.microsoft.com/office/drawing/2014/main" id="{92173C3D-0BEC-2D0B-C861-3508B190FDD0}"/>
              </a:ext>
            </a:extLst>
          </p:cNvPr>
          <p:cNvSpPr/>
          <p:nvPr/>
        </p:nvSpPr>
        <p:spPr>
          <a:xfrm>
            <a:off x="8080392" y="5099726"/>
            <a:ext cx="373713" cy="293578"/>
          </a:xfrm>
          <a:custGeom>
            <a:avLst/>
            <a:gdLst>
              <a:gd name="connsiteX0" fmla="*/ 0 w 95136"/>
              <a:gd name="connsiteY0" fmla="*/ 0 h 74736"/>
              <a:gd name="connsiteX1" fmla="*/ 95137 w 95136"/>
              <a:gd name="connsiteY1" fmla="*/ 0 h 74736"/>
              <a:gd name="connsiteX2" fmla="*/ 95137 w 95136"/>
              <a:gd name="connsiteY2" fmla="*/ 74737 h 74736"/>
              <a:gd name="connsiteX3" fmla="*/ 0 w 95136"/>
              <a:gd name="connsiteY3" fmla="*/ 74737 h 74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136" h="74736">
                <a:moveTo>
                  <a:pt x="0" y="0"/>
                </a:moveTo>
                <a:lnTo>
                  <a:pt x="95137" y="0"/>
                </a:lnTo>
                <a:lnTo>
                  <a:pt x="95137" y="74737"/>
                </a:lnTo>
                <a:lnTo>
                  <a:pt x="0" y="74737"/>
                </a:lnTo>
                <a:close/>
              </a:path>
            </a:pathLst>
          </a:custGeom>
          <a:solidFill>
            <a:srgbClr val="BAE5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57" name="Freihandform: Form 156">
            <a:extLst>
              <a:ext uri="{FF2B5EF4-FFF2-40B4-BE49-F238E27FC236}">
                <a16:creationId xmlns:a16="http://schemas.microsoft.com/office/drawing/2014/main" id="{BCCAE49E-BD87-DEAE-B064-9D106B076F87}"/>
              </a:ext>
            </a:extLst>
          </p:cNvPr>
          <p:cNvSpPr/>
          <p:nvPr/>
        </p:nvSpPr>
        <p:spPr>
          <a:xfrm>
            <a:off x="8089132" y="5108612"/>
            <a:ext cx="356228" cy="35550"/>
          </a:xfrm>
          <a:custGeom>
            <a:avLst/>
            <a:gdLst>
              <a:gd name="connsiteX0" fmla="*/ 0 w 90685"/>
              <a:gd name="connsiteY0" fmla="*/ 0 h 9050"/>
              <a:gd name="connsiteX1" fmla="*/ 90686 w 90685"/>
              <a:gd name="connsiteY1" fmla="*/ 0 h 9050"/>
              <a:gd name="connsiteX2" fmla="*/ 90686 w 90685"/>
              <a:gd name="connsiteY2" fmla="*/ 9050 h 9050"/>
              <a:gd name="connsiteX3" fmla="*/ 0 w 90685"/>
              <a:gd name="connsiteY3" fmla="*/ 9050 h 9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685" h="9050">
                <a:moveTo>
                  <a:pt x="0" y="0"/>
                </a:moveTo>
                <a:lnTo>
                  <a:pt x="90686" y="0"/>
                </a:lnTo>
                <a:lnTo>
                  <a:pt x="90686" y="9050"/>
                </a:lnTo>
                <a:lnTo>
                  <a:pt x="0" y="9050"/>
                </a:lnTo>
                <a:close/>
              </a:path>
            </a:pathLst>
          </a:custGeom>
          <a:solidFill>
            <a:srgbClr val="66C2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58" name="Freihandform: Form 157">
            <a:extLst>
              <a:ext uri="{FF2B5EF4-FFF2-40B4-BE49-F238E27FC236}">
                <a16:creationId xmlns:a16="http://schemas.microsoft.com/office/drawing/2014/main" id="{5D28940F-BDA1-DD4B-B9A8-A83BDC831B25}"/>
              </a:ext>
            </a:extLst>
          </p:cNvPr>
          <p:cNvSpPr/>
          <p:nvPr/>
        </p:nvSpPr>
        <p:spPr>
          <a:xfrm>
            <a:off x="8080392" y="5099726"/>
            <a:ext cx="373713" cy="293578"/>
          </a:xfrm>
          <a:custGeom>
            <a:avLst/>
            <a:gdLst>
              <a:gd name="connsiteX0" fmla="*/ 95137 w 95136"/>
              <a:gd name="connsiteY0" fmla="*/ 0 h 74736"/>
              <a:gd name="connsiteX1" fmla="*/ 0 w 95136"/>
              <a:gd name="connsiteY1" fmla="*/ 0 h 74736"/>
              <a:gd name="connsiteX2" fmla="*/ 0 w 95136"/>
              <a:gd name="connsiteY2" fmla="*/ 74737 h 74736"/>
              <a:gd name="connsiteX3" fmla="*/ 95137 w 95136"/>
              <a:gd name="connsiteY3" fmla="*/ 74737 h 74736"/>
              <a:gd name="connsiteX4" fmla="*/ 95137 w 95136"/>
              <a:gd name="connsiteY4" fmla="*/ 0 h 74736"/>
              <a:gd name="connsiteX5" fmla="*/ 90611 w 95136"/>
              <a:gd name="connsiteY5" fmla="*/ 70212 h 74736"/>
              <a:gd name="connsiteX6" fmla="*/ 4525 w 95136"/>
              <a:gd name="connsiteY6" fmla="*/ 70212 h 74736"/>
              <a:gd name="connsiteX7" fmla="*/ 4525 w 95136"/>
              <a:gd name="connsiteY7" fmla="*/ 4525 h 74736"/>
              <a:gd name="connsiteX8" fmla="*/ 90611 w 95136"/>
              <a:gd name="connsiteY8" fmla="*/ 4525 h 74736"/>
              <a:gd name="connsiteX9" fmla="*/ 90611 w 95136"/>
              <a:gd name="connsiteY9" fmla="*/ 70212 h 74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5136" h="74736">
                <a:moveTo>
                  <a:pt x="95137" y="0"/>
                </a:moveTo>
                <a:lnTo>
                  <a:pt x="0" y="0"/>
                </a:lnTo>
                <a:lnTo>
                  <a:pt x="0" y="74737"/>
                </a:lnTo>
                <a:lnTo>
                  <a:pt x="95137" y="74737"/>
                </a:lnTo>
                <a:lnTo>
                  <a:pt x="95137" y="0"/>
                </a:lnTo>
                <a:close/>
                <a:moveTo>
                  <a:pt x="90611" y="70212"/>
                </a:moveTo>
                <a:lnTo>
                  <a:pt x="4525" y="70212"/>
                </a:lnTo>
                <a:lnTo>
                  <a:pt x="4525" y="4525"/>
                </a:lnTo>
                <a:lnTo>
                  <a:pt x="90611" y="4525"/>
                </a:lnTo>
                <a:lnTo>
                  <a:pt x="90611" y="70212"/>
                </a:lnTo>
                <a:close/>
              </a:path>
            </a:pathLst>
          </a:custGeom>
          <a:solidFill>
            <a:srgbClr val="625A5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59" name="Freihandform: Form 158">
            <a:extLst>
              <a:ext uri="{FF2B5EF4-FFF2-40B4-BE49-F238E27FC236}">
                <a16:creationId xmlns:a16="http://schemas.microsoft.com/office/drawing/2014/main" id="{5CA8CCF9-4D9C-65A9-73F5-D3AF2E2437EE}"/>
              </a:ext>
            </a:extLst>
          </p:cNvPr>
          <p:cNvSpPr/>
          <p:nvPr/>
        </p:nvSpPr>
        <p:spPr>
          <a:xfrm>
            <a:off x="8267173" y="5099726"/>
            <a:ext cx="14570" cy="293578"/>
          </a:xfrm>
          <a:custGeom>
            <a:avLst/>
            <a:gdLst>
              <a:gd name="connsiteX0" fmla="*/ 0 w 3709"/>
              <a:gd name="connsiteY0" fmla="*/ 0 h 74736"/>
              <a:gd name="connsiteX1" fmla="*/ 0 w 3709"/>
              <a:gd name="connsiteY1" fmla="*/ 74737 h 74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709" h="74736">
                <a:moveTo>
                  <a:pt x="0" y="0"/>
                </a:moveTo>
                <a:lnTo>
                  <a:pt x="0" y="74737"/>
                </a:lnTo>
              </a:path>
            </a:pathLst>
          </a:custGeom>
          <a:ln w="4525" cap="flat">
            <a:solidFill>
              <a:srgbClr val="625A55"/>
            </a:solidFill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60" name="Freihandform: Form 159">
            <a:extLst>
              <a:ext uri="{FF2B5EF4-FFF2-40B4-BE49-F238E27FC236}">
                <a16:creationId xmlns:a16="http://schemas.microsoft.com/office/drawing/2014/main" id="{1C2B8AE5-660E-9CCD-0E37-EF653EF31C1B}"/>
              </a:ext>
            </a:extLst>
          </p:cNvPr>
          <p:cNvSpPr/>
          <p:nvPr/>
        </p:nvSpPr>
        <p:spPr>
          <a:xfrm>
            <a:off x="9575251" y="5099726"/>
            <a:ext cx="355938" cy="240252"/>
          </a:xfrm>
          <a:custGeom>
            <a:avLst/>
            <a:gdLst>
              <a:gd name="connsiteX0" fmla="*/ 0 w 90611"/>
              <a:gd name="connsiteY0" fmla="*/ 0 h 61161"/>
              <a:gd name="connsiteX1" fmla="*/ 90612 w 90611"/>
              <a:gd name="connsiteY1" fmla="*/ 0 h 61161"/>
              <a:gd name="connsiteX2" fmla="*/ 90612 w 90611"/>
              <a:gd name="connsiteY2" fmla="*/ 61162 h 61161"/>
              <a:gd name="connsiteX3" fmla="*/ 0 w 90611"/>
              <a:gd name="connsiteY3" fmla="*/ 61162 h 61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611" h="61161">
                <a:moveTo>
                  <a:pt x="0" y="0"/>
                </a:moveTo>
                <a:lnTo>
                  <a:pt x="90612" y="0"/>
                </a:lnTo>
                <a:lnTo>
                  <a:pt x="90612" y="61162"/>
                </a:lnTo>
                <a:lnTo>
                  <a:pt x="0" y="61162"/>
                </a:lnTo>
                <a:close/>
              </a:path>
            </a:pathLst>
          </a:custGeom>
          <a:solidFill>
            <a:srgbClr val="BAE5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61" name="Freihandform: Form 160">
            <a:extLst>
              <a:ext uri="{FF2B5EF4-FFF2-40B4-BE49-F238E27FC236}">
                <a16:creationId xmlns:a16="http://schemas.microsoft.com/office/drawing/2014/main" id="{E0B116C7-EE5E-F1DF-457A-0215472B62E2}"/>
              </a:ext>
            </a:extLst>
          </p:cNvPr>
          <p:cNvSpPr/>
          <p:nvPr/>
        </p:nvSpPr>
        <p:spPr>
          <a:xfrm>
            <a:off x="9575251" y="5099726"/>
            <a:ext cx="355938" cy="44436"/>
          </a:xfrm>
          <a:custGeom>
            <a:avLst/>
            <a:gdLst>
              <a:gd name="connsiteX0" fmla="*/ 0 w 90611"/>
              <a:gd name="connsiteY0" fmla="*/ 0 h 11312"/>
              <a:gd name="connsiteX1" fmla="*/ 90612 w 90611"/>
              <a:gd name="connsiteY1" fmla="*/ 0 h 11312"/>
              <a:gd name="connsiteX2" fmla="*/ 90612 w 90611"/>
              <a:gd name="connsiteY2" fmla="*/ 11312 h 11312"/>
              <a:gd name="connsiteX3" fmla="*/ 0 w 90611"/>
              <a:gd name="connsiteY3" fmla="*/ 11312 h 11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0611" h="11312">
                <a:moveTo>
                  <a:pt x="0" y="0"/>
                </a:moveTo>
                <a:lnTo>
                  <a:pt x="90612" y="0"/>
                </a:lnTo>
                <a:lnTo>
                  <a:pt x="90612" y="11312"/>
                </a:lnTo>
                <a:lnTo>
                  <a:pt x="0" y="11312"/>
                </a:lnTo>
                <a:close/>
              </a:path>
            </a:pathLst>
          </a:custGeom>
          <a:solidFill>
            <a:srgbClr val="66C2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62" name="Freihandform: Form 161">
            <a:extLst>
              <a:ext uri="{FF2B5EF4-FFF2-40B4-BE49-F238E27FC236}">
                <a16:creationId xmlns:a16="http://schemas.microsoft.com/office/drawing/2014/main" id="{2EEF4F58-EC7D-78FD-08E3-0BEB12485C88}"/>
              </a:ext>
            </a:extLst>
          </p:cNvPr>
          <p:cNvSpPr/>
          <p:nvPr/>
        </p:nvSpPr>
        <p:spPr>
          <a:xfrm>
            <a:off x="8650070" y="4788224"/>
            <a:ext cx="186927" cy="240252"/>
          </a:xfrm>
          <a:custGeom>
            <a:avLst/>
            <a:gdLst>
              <a:gd name="connsiteX0" fmla="*/ 0 w 47586"/>
              <a:gd name="connsiteY0" fmla="*/ 0 h 61161"/>
              <a:gd name="connsiteX1" fmla="*/ 47587 w 47586"/>
              <a:gd name="connsiteY1" fmla="*/ 0 h 61161"/>
              <a:gd name="connsiteX2" fmla="*/ 47587 w 47586"/>
              <a:gd name="connsiteY2" fmla="*/ 61162 h 61161"/>
              <a:gd name="connsiteX3" fmla="*/ 0 w 47586"/>
              <a:gd name="connsiteY3" fmla="*/ 61162 h 61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586" h="61161">
                <a:moveTo>
                  <a:pt x="0" y="0"/>
                </a:moveTo>
                <a:lnTo>
                  <a:pt x="47587" y="0"/>
                </a:lnTo>
                <a:lnTo>
                  <a:pt x="47587" y="61162"/>
                </a:lnTo>
                <a:lnTo>
                  <a:pt x="0" y="61162"/>
                </a:lnTo>
                <a:close/>
              </a:path>
            </a:pathLst>
          </a:custGeom>
          <a:solidFill>
            <a:srgbClr val="BAE5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63" name="Freihandform: Form 162">
            <a:extLst>
              <a:ext uri="{FF2B5EF4-FFF2-40B4-BE49-F238E27FC236}">
                <a16:creationId xmlns:a16="http://schemas.microsoft.com/office/drawing/2014/main" id="{8E7D58FA-67E6-C696-5667-D43861071B09}"/>
              </a:ext>
            </a:extLst>
          </p:cNvPr>
          <p:cNvSpPr/>
          <p:nvPr/>
        </p:nvSpPr>
        <p:spPr>
          <a:xfrm>
            <a:off x="8667845" y="4805999"/>
            <a:ext cx="151232" cy="26661"/>
          </a:xfrm>
          <a:custGeom>
            <a:avLst/>
            <a:gdLst>
              <a:gd name="connsiteX0" fmla="*/ 0 w 38499"/>
              <a:gd name="connsiteY0" fmla="*/ 0 h 6787"/>
              <a:gd name="connsiteX1" fmla="*/ 38500 w 38499"/>
              <a:gd name="connsiteY1" fmla="*/ 0 h 6787"/>
              <a:gd name="connsiteX2" fmla="*/ 38500 w 38499"/>
              <a:gd name="connsiteY2" fmla="*/ 6788 h 6787"/>
              <a:gd name="connsiteX3" fmla="*/ 0 w 38499"/>
              <a:gd name="connsiteY3" fmla="*/ 6788 h 6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499" h="6787">
                <a:moveTo>
                  <a:pt x="0" y="0"/>
                </a:moveTo>
                <a:lnTo>
                  <a:pt x="38500" y="0"/>
                </a:lnTo>
                <a:lnTo>
                  <a:pt x="38500" y="6788"/>
                </a:lnTo>
                <a:lnTo>
                  <a:pt x="0" y="6788"/>
                </a:lnTo>
                <a:close/>
              </a:path>
            </a:pathLst>
          </a:custGeom>
          <a:solidFill>
            <a:srgbClr val="66C2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64" name="Freihandform: Form 163">
            <a:extLst>
              <a:ext uri="{FF2B5EF4-FFF2-40B4-BE49-F238E27FC236}">
                <a16:creationId xmlns:a16="http://schemas.microsoft.com/office/drawing/2014/main" id="{1245F73D-F15D-3A23-3B3F-3B72511269B8}"/>
              </a:ext>
            </a:extLst>
          </p:cNvPr>
          <p:cNvSpPr/>
          <p:nvPr/>
        </p:nvSpPr>
        <p:spPr>
          <a:xfrm>
            <a:off x="8667845" y="4805999"/>
            <a:ext cx="151232" cy="26661"/>
          </a:xfrm>
          <a:custGeom>
            <a:avLst/>
            <a:gdLst>
              <a:gd name="connsiteX0" fmla="*/ 0 w 38499"/>
              <a:gd name="connsiteY0" fmla="*/ 0 h 6787"/>
              <a:gd name="connsiteX1" fmla="*/ 38500 w 38499"/>
              <a:gd name="connsiteY1" fmla="*/ 0 h 6787"/>
              <a:gd name="connsiteX2" fmla="*/ 38500 w 38499"/>
              <a:gd name="connsiteY2" fmla="*/ 6788 h 6787"/>
              <a:gd name="connsiteX3" fmla="*/ 0 w 38499"/>
              <a:gd name="connsiteY3" fmla="*/ 6788 h 6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499" h="6787">
                <a:moveTo>
                  <a:pt x="0" y="0"/>
                </a:moveTo>
                <a:lnTo>
                  <a:pt x="38500" y="0"/>
                </a:lnTo>
                <a:lnTo>
                  <a:pt x="38500" y="6788"/>
                </a:lnTo>
                <a:lnTo>
                  <a:pt x="0" y="6788"/>
                </a:lnTo>
                <a:close/>
              </a:path>
            </a:pathLst>
          </a:custGeom>
          <a:solidFill>
            <a:srgbClr val="66C2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65" name="Grafik 7">
            <a:extLst>
              <a:ext uri="{FF2B5EF4-FFF2-40B4-BE49-F238E27FC236}">
                <a16:creationId xmlns:a16="http://schemas.microsoft.com/office/drawing/2014/main" id="{36D44BE3-0DE3-ACC5-4AB9-BB1B6E0D28EE}"/>
              </a:ext>
            </a:extLst>
          </p:cNvPr>
          <p:cNvGrpSpPr/>
          <p:nvPr/>
        </p:nvGrpSpPr>
        <p:grpSpPr>
          <a:xfrm>
            <a:off x="9068077" y="4788224"/>
            <a:ext cx="863115" cy="551758"/>
            <a:chOff x="-966264" y="5587104"/>
            <a:chExt cx="219723" cy="140461"/>
          </a:xfrm>
        </p:grpSpPr>
        <p:sp>
          <p:nvSpPr>
            <p:cNvPr id="166" name="Freihandform: Form 165">
              <a:extLst>
                <a:ext uri="{FF2B5EF4-FFF2-40B4-BE49-F238E27FC236}">
                  <a16:creationId xmlns:a16="http://schemas.microsoft.com/office/drawing/2014/main" id="{E362AA37-04B5-F744-1DE3-235270E2FB1A}"/>
                </a:ext>
              </a:extLst>
            </p:cNvPr>
            <p:cNvSpPr/>
            <p:nvPr/>
          </p:nvSpPr>
          <p:spPr>
            <a:xfrm>
              <a:off x="-966264" y="5673190"/>
              <a:ext cx="27187" cy="6824"/>
            </a:xfrm>
            <a:custGeom>
              <a:avLst/>
              <a:gdLst>
                <a:gd name="connsiteX0" fmla="*/ 18137 w 27187"/>
                <a:gd name="connsiteY0" fmla="*/ 6787 h 6824"/>
                <a:gd name="connsiteX1" fmla="*/ 26186 w 27187"/>
                <a:gd name="connsiteY1" fmla="*/ 6787 h 6824"/>
                <a:gd name="connsiteX2" fmla="*/ 27187 w 27187"/>
                <a:gd name="connsiteY2" fmla="*/ 5786 h 6824"/>
                <a:gd name="connsiteX3" fmla="*/ 27187 w 27187"/>
                <a:gd name="connsiteY3" fmla="*/ 1002 h 6824"/>
                <a:gd name="connsiteX4" fmla="*/ 26186 w 27187"/>
                <a:gd name="connsiteY4" fmla="*/ 0 h 6824"/>
                <a:gd name="connsiteX5" fmla="*/ 1446 w 27187"/>
                <a:gd name="connsiteY5" fmla="*/ 0 h 6824"/>
                <a:gd name="connsiteX6" fmla="*/ 0 w 27187"/>
                <a:gd name="connsiteY6" fmla="*/ 1447 h 6824"/>
                <a:gd name="connsiteX7" fmla="*/ 0 w 27187"/>
                <a:gd name="connsiteY7" fmla="*/ 5378 h 6824"/>
                <a:gd name="connsiteX8" fmla="*/ 1446 w 27187"/>
                <a:gd name="connsiteY8" fmla="*/ 6824 h 6824"/>
                <a:gd name="connsiteX9" fmla="*/ 18137 w 27187"/>
                <a:gd name="connsiteY9" fmla="*/ 6824 h 6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7187" h="6824">
                  <a:moveTo>
                    <a:pt x="18137" y="6787"/>
                  </a:moveTo>
                  <a:lnTo>
                    <a:pt x="26186" y="6787"/>
                  </a:lnTo>
                  <a:cubicBezTo>
                    <a:pt x="26742" y="6787"/>
                    <a:pt x="27187" y="6342"/>
                    <a:pt x="27187" y="5786"/>
                  </a:cubicBezTo>
                  <a:lnTo>
                    <a:pt x="27187" y="1002"/>
                  </a:lnTo>
                  <a:cubicBezTo>
                    <a:pt x="27187" y="445"/>
                    <a:pt x="26742" y="0"/>
                    <a:pt x="26186" y="0"/>
                  </a:cubicBezTo>
                  <a:lnTo>
                    <a:pt x="1446" y="0"/>
                  </a:lnTo>
                  <a:cubicBezTo>
                    <a:pt x="667" y="0"/>
                    <a:pt x="0" y="630"/>
                    <a:pt x="0" y="1447"/>
                  </a:cubicBezTo>
                  <a:lnTo>
                    <a:pt x="0" y="5378"/>
                  </a:lnTo>
                  <a:cubicBezTo>
                    <a:pt x="0" y="6157"/>
                    <a:pt x="630" y="6824"/>
                    <a:pt x="1446" y="6824"/>
                  </a:cubicBezTo>
                  <a:lnTo>
                    <a:pt x="18137" y="6824"/>
                  </a:lnTo>
                  <a:close/>
                </a:path>
              </a:pathLst>
            </a:custGeom>
            <a:solidFill>
              <a:srgbClr val="CBA67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7" name="Freihandform: Form 166">
              <a:extLst>
                <a:ext uri="{FF2B5EF4-FFF2-40B4-BE49-F238E27FC236}">
                  <a16:creationId xmlns:a16="http://schemas.microsoft.com/office/drawing/2014/main" id="{CB1F0E39-29A3-E377-01AA-D4B4BC5E9031}"/>
                </a:ext>
              </a:extLst>
            </p:cNvPr>
            <p:cNvSpPr/>
            <p:nvPr/>
          </p:nvSpPr>
          <p:spPr>
            <a:xfrm>
              <a:off x="-957177" y="5664103"/>
              <a:ext cx="27187" cy="6824"/>
            </a:xfrm>
            <a:custGeom>
              <a:avLst/>
              <a:gdLst>
                <a:gd name="connsiteX0" fmla="*/ 25740 w 27187"/>
                <a:gd name="connsiteY0" fmla="*/ 37 h 6824"/>
                <a:gd name="connsiteX1" fmla="*/ 1002 w 27187"/>
                <a:gd name="connsiteY1" fmla="*/ 37 h 6824"/>
                <a:gd name="connsiteX2" fmla="*/ 0 w 27187"/>
                <a:gd name="connsiteY2" fmla="*/ 1039 h 6824"/>
                <a:gd name="connsiteX3" fmla="*/ 0 w 27187"/>
                <a:gd name="connsiteY3" fmla="*/ 5823 h 6824"/>
                <a:gd name="connsiteX4" fmla="*/ 1002 w 27187"/>
                <a:gd name="connsiteY4" fmla="*/ 6825 h 6824"/>
                <a:gd name="connsiteX5" fmla="*/ 25740 w 27187"/>
                <a:gd name="connsiteY5" fmla="*/ 6825 h 6824"/>
                <a:gd name="connsiteX6" fmla="*/ 27187 w 27187"/>
                <a:gd name="connsiteY6" fmla="*/ 5378 h 6824"/>
                <a:gd name="connsiteX7" fmla="*/ 27187 w 27187"/>
                <a:gd name="connsiteY7" fmla="*/ 1447 h 6824"/>
                <a:gd name="connsiteX8" fmla="*/ 25740 w 27187"/>
                <a:gd name="connsiteY8" fmla="*/ 0 h 6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87" h="6824">
                  <a:moveTo>
                    <a:pt x="25740" y="37"/>
                  </a:moveTo>
                  <a:lnTo>
                    <a:pt x="1002" y="37"/>
                  </a:lnTo>
                  <a:cubicBezTo>
                    <a:pt x="445" y="37"/>
                    <a:pt x="0" y="482"/>
                    <a:pt x="0" y="1039"/>
                  </a:cubicBezTo>
                  <a:lnTo>
                    <a:pt x="0" y="5823"/>
                  </a:lnTo>
                  <a:cubicBezTo>
                    <a:pt x="0" y="6380"/>
                    <a:pt x="445" y="6825"/>
                    <a:pt x="1002" y="6825"/>
                  </a:cubicBezTo>
                  <a:lnTo>
                    <a:pt x="25740" y="6825"/>
                  </a:lnTo>
                  <a:cubicBezTo>
                    <a:pt x="26520" y="6825"/>
                    <a:pt x="27187" y="6194"/>
                    <a:pt x="27187" y="5378"/>
                  </a:cubicBezTo>
                  <a:lnTo>
                    <a:pt x="27187" y="1447"/>
                  </a:lnTo>
                  <a:cubicBezTo>
                    <a:pt x="27187" y="668"/>
                    <a:pt x="26557" y="0"/>
                    <a:pt x="25740" y="0"/>
                  </a:cubicBezTo>
                </a:path>
              </a:pathLst>
            </a:custGeom>
            <a:solidFill>
              <a:srgbClr val="CBA67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8" name="Freihandform: Form 167">
              <a:extLst>
                <a:ext uri="{FF2B5EF4-FFF2-40B4-BE49-F238E27FC236}">
                  <a16:creationId xmlns:a16="http://schemas.microsoft.com/office/drawing/2014/main" id="{53127545-0AF5-424D-3D1A-60C3DC84307D}"/>
                </a:ext>
              </a:extLst>
            </p:cNvPr>
            <p:cNvSpPr/>
            <p:nvPr/>
          </p:nvSpPr>
          <p:spPr>
            <a:xfrm>
              <a:off x="-957177" y="5682204"/>
              <a:ext cx="27187" cy="6824"/>
            </a:xfrm>
            <a:custGeom>
              <a:avLst/>
              <a:gdLst>
                <a:gd name="connsiteX0" fmla="*/ 25740 w 27187"/>
                <a:gd name="connsiteY0" fmla="*/ 37 h 6824"/>
                <a:gd name="connsiteX1" fmla="*/ 1002 w 27187"/>
                <a:gd name="connsiteY1" fmla="*/ 37 h 6824"/>
                <a:gd name="connsiteX2" fmla="*/ 0 w 27187"/>
                <a:gd name="connsiteY2" fmla="*/ 1038 h 6824"/>
                <a:gd name="connsiteX3" fmla="*/ 0 w 27187"/>
                <a:gd name="connsiteY3" fmla="*/ 5823 h 6824"/>
                <a:gd name="connsiteX4" fmla="*/ 1002 w 27187"/>
                <a:gd name="connsiteY4" fmla="*/ 6824 h 6824"/>
                <a:gd name="connsiteX5" fmla="*/ 25740 w 27187"/>
                <a:gd name="connsiteY5" fmla="*/ 6824 h 6824"/>
                <a:gd name="connsiteX6" fmla="*/ 27187 w 27187"/>
                <a:gd name="connsiteY6" fmla="*/ 5378 h 6824"/>
                <a:gd name="connsiteX7" fmla="*/ 27187 w 27187"/>
                <a:gd name="connsiteY7" fmla="*/ 1446 h 6824"/>
                <a:gd name="connsiteX8" fmla="*/ 25740 w 27187"/>
                <a:gd name="connsiteY8" fmla="*/ 0 h 68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187" h="6824">
                  <a:moveTo>
                    <a:pt x="25740" y="37"/>
                  </a:moveTo>
                  <a:lnTo>
                    <a:pt x="1002" y="37"/>
                  </a:lnTo>
                  <a:cubicBezTo>
                    <a:pt x="445" y="37"/>
                    <a:pt x="0" y="482"/>
                    <a:pt x="0" y="1038"/>
                  </a:cubicBezTo>
                  <a:lnTo>
                    <a:pt x="0" y="5823"/>
                  </a:lnTo>
                  <a:cubicBezTo>
                    <a:pt x="0" y="6379"/>
                    <a:pt x="445" y="6824"/>
                    <a:pt x="1002" y="6824"/>
                  </a:cubicBezTo>
                  <a:lnTo>
                    <a:pt x="25740" y="6824"/>
                  </a:lnTo>
                  <a:cubicBezTo>
                    <a:pt x="26520" y="6824"/>
                    <a:pt x="27187" y="6194"/>
                    <a:pt x="27187" y="5378"/>
                  </a:cubicBezTo>
                  <a:lnTo>
                    <a:pt x="27187" y="1446"/>
                  </a:lnTo>
                  <a:cubicBezTo>
                    <a:pt x="27187" y="667"/>
                    <a:pt x="26557" y="0"/>
                    <a:pt x="25740" y="0"/>
                  </a:cubicBezTo>
                </a:path>
              </a:pathLst>
            </a:custGeom>
            <a:solidFill>
              <a:srgbClr val="CBA67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9" name="Freihandform: Form 168">
              <a:extLst>
                <a:ext uri="{FF2B5EF4-FFF2-40B4-BE49-F238E27FC236}">
                  <a16:creationId xmlns:a16="http://schemas.microsoft.com/office/drawing/2014/main" id="{AEF89B8F-CE41-2644-3AFC-CBB0D4930065}"/>
                </a:ext>
              </a:extLst>
            </p:cNvPr>
            <p:cNvSpPr/>
            <p:nvPr/>
          </p:nvSpPr>
          <p:spPr>
            <a:xfrm>
              <a:off x="-889228" y="5587104"/>
              <a:ext cx="88349" cy="38499"/>
            </a:xfrm>
            <a:custGeom>
              <a:avLst/>
              <a:gdLst>
                <a:gd name="connsiteX0" fmla="*/ 81525 w 88349"/>
                <a:gd name="connsiteY0" fmla="*/ 38500 h 38499"/>
                <a:gd name="connsiteX1" fmla="*/ 6788 w 88349"/>
                <a:gd name="connsiteY1" fmla="*/ 38500 h 38499"/>
                <a:gd name="connsiteX2" fmla="*/ 0 w 88349"/>
                <a:gd name="connsiteY2" fmla="*/ 31712 h 38499"/>
                <a:gd name="connsiteX3" fmla="*/ 0 w 88349"/>
                <a:gd name="connsiteY3" fmla="*/ 0 h 38499"/>
                <a:gd name="connsiteX4" fmla="*/ 88349 w 88349"/>
                <a:gd name="connsiteY4" fmla="*/ 0 h 38499"/>
                <a:gd name="connsiteX5" fmla="*/ 88349 w 88349"/>
                <a:gd name="connsiteY5" fmla="*/ 31712 h 38499"/>
                <a:gd name="connsiteX6" fmla="*/ 81562 w 88349"/>
                <a:gd name="connsiteY6" fmla="*/ 38500 h 38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8349" h="38499">
                  <a:moveTo>
                    <a:pt x="81525" y="38500"/>
                  </a:moveTo>
                  <a:lnTo>
                    <a:pt x="6788" y="38500"/>
                  </a:lnTo>
                  <a:cubicBezTo>
                    <a:pt x="3042" y="38500"/>
                    <a:pt x="0" y="35458"/>
                    <a:pt x="0" y="31712"/>
                  </a:cubicBezTo>
                  <a:lnTo>
                    <a:pt x="0" y="0"/>
                  </a:lnTo>
                  <a:lnTo>
                    <a:pt x="88349" y="0"/>
                  </a:lnTo>
                  <a:lnTo>
                    <a:pt x="88349" y="31712"/>
                  </a:lnTo>
                  <a:cubicBezTo>
                    <a:pt x="88349" y="35458"/>
                    <a:pt x="85308" y="38500"/>
                    <a:pt x="81562" y="38500"/>
                  </a:cubicBezTo>
                </a:path>
              </a:pathLst>
            </a:custGeom>
            <a:solidFill>
              <a:srgbClr val="968F8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0" name="Freihandform: Form 169">
              <a:extLst>
                <a:ext uri="{FF2B5EF4-FFF2-40B4-BE49-F238E27FC236}">
                  <a16:creationId xmlns:a16="http://schemas.microsoft.com/office/drawing/2014/main" id="{082589E0-8079-BDDB-D356-72FABC26FAA6}"/>
                </a:ext>
              </a:extLst>
            </p:cNvPr>
            <p:cNvSpPr/>
            <p:nvPr/>
          </p:nvSpPr>
          <p:spPr>
            <a:xfrm>
              <a:off x="-889264" y="5587104"/>
              <a:ext cx="15911" cy="38499"/>
            </a:xfrm>
            <a:custGeom>
              <a:avLst/>
              <a:gdLst>
                <a:gd name="connsiteX0" fmla="*/ 6824 w 15911"/>
                <a:gd name="connsiteY0" fmla="*/ 38500 h 38499"/>
                <a:gd name="connsiteX1" fmla="*/ 15911 w 15911"/>
                <a:gd name="connsiteY1" fmla="*/ 38500 h 38499"/>
                <a:gd name="connsiteX2" fmla="*/ 15911 w 15911"/>
                <a:gd name="connsiteY2" fmla="*/ 0 h 38499"/>
                <a:gd name="connsiteX3" fmla="*/ 0 w 15911"/>
                <a:gd name="connsiteY3" fmla="*/ 0 h 38499"/>
                <a:gd name="connsiteX4" fmla="*/ 0 w 15911"/>
                <a:gd name="connsiteY4" fmla="*/ 31712 h 38499"/>
                <a:gd name="connsiteX5" fmla="*/ 6787 w 15911"/>
                <a:gd name="connsiteY5" fmla="*/ 38500 h 38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911" h="38499">
                  <a:moveTo>
                    <a:pt x="6824" y="38500"/>
                  </a:moveTo>
                  <a:lnTo>
                    <a:pt x="15911" y="38500"/>
                  </a:lnTo>
                  <a:lnTo>
                    <a:pt x="15911" y="0"/>
                  </a:lnTo>
                  <a:lnTo>
                    <a:pt x="0" y="0"/>
                  </a:lnTo>
                  <a:lnTo>
                    <a:pt x="0" y="31712"/>
                  </a:lnTo>
                  <a:cubicBezTo>
                    <a:pt x="0" y="35458"/>
                    <a:pt x="3041" y="38500"/>
                    <a:pt x="6787" y="38500"/>
                  </a:cubicBezTo>
                </a:path>
              </a:pathLst>
            </a:custGeom>
            <a:solidFill>
              <a:srgbClr val="C3BCB6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1" name="Freihandform: Form 170">
              <a:extLst>
                <a:ext uri="{FF2B5EF4-FFF2-40B4-BE49-F238E27FC236}">
                  <a16:creationId xmlns:a16="http://schemas.microsoft.com/office/drawing/2014/main" id="{04009F36-61F9-0F51-FDF9-A09F6EF80B3B}"/>
                </a:ext>
              </a:extLst>
            </p:cNvPr>
            <p:cNvSpPr/>
            <p:nvPr/>
          </p:nvSpPr>
          <p:spPr>
            <a:xfrm>
              <a:off x="-778105" y="5666403"/>
              <a:ext cx="31563" cy="61162"/>
            </a:xfrm>
            <a:custGeom>
              <a:avLst/>
              <a:gdLst>
                <a:gd name="connsiteX0" fmla="*/ 31564 w 31563"/>
                <a:gd name="connsiteY0" fmla="*/ 0 h 61162"/>
                <a:gd name="connsiteX1" fmla="*/ 31564 w 31563"/>
                <a:gd name="connsiteY1" fmla="*/ 61162 h 61162"/>
                <a:gd name="connsiteX2" fmla="*/ 0 w 31563"/>
                <a:gd name="connsiteY2" fmla="*/ 61162 h 61162"/>
                <a:gd name="connsiteX3" fmla="*/ 14317 w 31563"/>
                <a:gd name="connsiteY3" fmla="*/ 40911 h 61162"/>
                <a:gd name="connsiteX4" fmla="*/ 17247 w 31563"/>
                <a:gd name="connsiteY4" fmla="*/ 27447 h 61162"/>
                <a:gd name="connsiteX5" fmla="*/ 14762 w 31563"/>
                <a:gd name="connsiteY5" fmla="*/ 15652 h 61162"/>
                <a:gd name="connsiteX6" fmla="*/ 23330 w 31563"/>
                <a:gd name="connsiteY6" fmla="*/ 0 h 61162"/>
                <a:gd name="connsiteX7" fmla="*/ 31564 w 31563"/>
                <a:gd name="connsiteY7" fmla="*/ 0 h 61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31563" h="61162">
                  <a:moveTo>
                    <a:pt x="31564" y="0"/>
                  </a:moveTo>
                  <a:lnTo>
                    <a:pt x="31564" y="61162"/>
                  </a:lnTo>
                  <a:lnTo>
                    <a:pt x="0" y="61162"/>
                  </a:lnTo>
                  <a:cubicBezTo>
                    <a:pt x="2485" y="52780"/>
                    <a:pt x="7603" y="45658"/>
                    <a:pt x="14317" y="40911"/>
                  </a:cubicBezTo>
                  <a:cubicBezTo>
                    <a:pt x="18471" y="37981"/>
                    <a:pt x="19732" y="32083"/>
                    <a:pt x="17247" y="27447"/>
                  </a:cubicBezTo>
                  <a:cubicBezTo>
                    <a:pt x="15393" y="23998"/>
                    <a:pt x="14465" y="19955"/>
                    <a:pt x="14762" y="15652"/>
                  </a:cubicBezTo>
                  <a:cubicBezTo>
                    <a:pt x="15207" y="9161"/>
                    <a:pt x="18508" y="3449"/>
                    <a:pt x="23330" y="0"/>
                  </a:cubicBezTo>
                  <a:lnTo>
                    <a:pt x="31564" y="0"/>
                  </a:lnTo>
                  <a:close/>
                </a:path>
              </a:pathLst>
            </a:custGeom>
            <a:solidFill>
              <a:srgbClr val="66C2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172" name="Freihandform: Form 171">
            <a:extLst>
              <a:ext uri="{FF2B5EF4-FFF2-40B4-BE49-F238E27FC236}">
                <a16:creationId xmlns:a16="http://schemas.microsoft.com/office/drawing/2014/main" id="{0807BAE8-230C-FD5B-59B3-CA705C6A2438}"/>
              </a:ext>
            </a:extLst>
          </p:cNvPr>
          <p:cNvSpPr/>
          <p:nvPr/>
        </p:nvSpPr>
        <p:spPr>
          <a:xfrm>
            <a:off x="9566365" y="5090837"/>
            <a:ext cx="382602" cy="258031"/>
          </a:xfrm>
          <a:custGeom>
            <a:avLst/>
            <a:gdLst>
              <a:gd name="connsiteX0" fmla="*/ 97399 w 97399"/>
              <a:gd name="connsiteY0" fmla="*/ 61162 h 65687"/>
              <a:gd name="connsiteX1" fmla="*/ 4525 w 97399"/>
              <a:gd name="connsiteY1" fmla="*/ 61162 h 65687"/>
              <a:gd name="connsiteX2" fmla="*/ 4525 w 97399"/>
              <a:gd name="connsiteY2" fmla="*/ 4525 h 65687"/>
              <a:gd name="connsiteX3" fmla="*/ 97399 w 97399"/>
              <a:gd name="connsiteY3" fmla="*/ 4525 h 65687"/>
              <a:gd name="connsiteX4" fmla="*/ 97399 w 97399"/>
              <a:gd name="connsiteY4" fmla="*/ 0 h 65687"/>
              <a:gd name="connsiteX5" fmla="*/ 0 w 97399"/>
              <a:gd name="connsiteY5" fmla="*/ 0 h 65687"/>
              <a:gd name="connsiteX6" fmla="*/ 0 w 97399"/>
              <a:gd name="connsiteY6" fmla="*/ 65687 h 65687"/>
              <a:gd name="connsiteX7" fmla="*/ 97399 w 97399"/>
              <a:gd name="connsiteY7" fmla="*/ 65687 h 65687"/>
              <a:gd name="connsiteX8" fmla="*/ 97399 w 97399"/>
              <a:gd name="connsiteY8" fmla="*/ 61162 h 65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7399" h="65687">
                <a:moveTo>
                  <a:pt x="97399" y="61162"/>
                </a:moveTo>
                <a:lnTo>
                  <a:pt x="4525" y="61162"/>
                </a:lnTo>
                <a:lnTo>
                  <a:pt x="4525" y="4525"/>
                </a:lnTo>
                <a:lnTo>
                  <a:pt x="97399" y="4525"/>
                </a:lnTo>
                <a:lnTo>
                  <a:pt x="97399" y="0"/>
                </a:lnTo>
                <a:lnTo>
                  <a:pt x="0" y="0"/>
                </a:lnTo>
                <a:lnTo>
                  <a:pt x="0" y="65687"/>
                </a:lnTo>
                <a:lnTo>
                  <a:pt x="97399" y="65687"/>
                </a:lnTo>
                <a:lnTo>
                  <a:pt x="97399" y="61162"/>
                </a:lnTo>
                <a:close/>
              </a:path>
            </a:pathLst>
          </a:custGeom>
          <a:solidFill>
            <a:srgbClr val="625A5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73" name="Freihandform: Form 172">
            <a:extLst>
              <a:ext uri="{FF2B5EF4-FFF2-40B4-BE49-F238E27FC236}">
                <a16:creationId xmlns:a16="http://schemas.microsoft.com/office/drawing/2014/main" id="{691FA135-B600-D8CE-795B-792F8AA36F11}"/>
              </a:ext>
            </a:extLst>
          </p:cNvPr>
          <p:cNvSpPr/>
          <p:nvPr/>
        </p:nvSpPr>
        <p:spPr>
          <a:xfrm>
            <a:off x="9762182" y="5099726"/>
            <a:ext cx="14570" cy="240252"/>
          </a:xfrm>
          <a:custGeom>
            <a:avLst/>
            <a:gdLst>
              <a:gd name="connsiteX0" fmla="*/ 0 w 3709"/>
              <a:gd name="connsiteY0" fmla="*/ 0 h 61161"/>
              <a:gd name="connsiteX1" fmla="*/ 0 w 3709"/>
              <a:gd name="connsiteY1" fmla="*/ 61162 h 611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709" h="61161">
                <a:moveTo>
                  <a:pt x="0" y="0"/>
                </a:moveTo>
                <a:lnTo>
                  <a:pt x="0" y="61162"/>
                </a:lnTo>
              </a:path>
            </a:pathLst>
          </a:custGeom>
          <a:ln w="4525" cap="flat">
            <a:solidFill>
              <a:srgbClr val="625A55"/>
            </a:solidFill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74" name="Freihandform: Form 173">
            <a:extLst>
              <a:ext uri="{FF2B5EF4-FFF2-40B4-BE49-F238E27FC236}">
                <a16:creationId xmlns:a16="http://schemas.microsoft.com/office/drawing/2014/main" id="{3C48983B-0382-7412-B57B-A636CF0727F9}"/>
              </a:ext>
            </a:extLst>
          </p:cNvPr>
          <p:cNvSpPr/>
          <p:nvPr/>
        </p:nvSpPr>
        <p:spPr>
          <a:xfrm>
            <a:off x="8649921" y="4788224"/>
            <a:ext cx="186931" cy="240256"/>
          </a:xfrm>
          <a:custGeom>
            <a:avLst/>
            <a:gdLst>
              <a:gd name="connsiteX0" fmla="*/ 47587 w 47587"/>
              <a:gd name="connsiteY0" fmla="*/ 0 h 61162"/>
              <a:gd name="connsiteX1" fmla="*/ 0 w 47587"/>
              <a:gd name="connsiteY1" fmla="*/ 0 h 61162"/>
              <a:gd name="connsiteX2" fmla="*/ 0 w 47587"/>
              <a:gd name="connsiteY2" fmla="*/ 61162 h 61162"/>
              <a:gd name="connsiteX3" fmla="*/ 47587 w 47587"/>
              <a:gd name="connsiteY3" fmla="*/ 61162 h 61162"/>
              <a:gd name="connsiteX4" fmla="*/ 47587 w 47587"/>
              <a:gd name="connsiteY4" fmla="*/ 0 h 61162"/>
              <a:gd name="connsiteX5" fmla="*/ 43062 w 47587"/>
              <a:gd name="connsiteY5" fmla="*/ 56637 h 61162"/>
              <a:gd name="connsiteX6" fmla="*/ 4562 w 47587"/>
              <a:gd name="connsiteY6" fmla="*/ 56637 h 61162"/>
              <a:gd name="connsiteX7" fmla="*/ 4562 w 47587"/>
              <a:gd name="connsiteY7" fmla="*/ 4525 h 61162"/>
              <a:gd name="connsiteX8" fmla="*/ 43062 w 47587"/>
              <a:gd name="connsiteY8" fmla="*/ 4525 h 61162"/>
              <a:gd name="connsiteX9" fmla="*/ 43062 w 47587"/>
              <a:gd name="connsiteY9" fmla="*/ 56637 h 61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7587" h="61162">
                <a:moveTo>
                  <a:pt x="47587" y="0"/>
                </a:moveTo>
                <a:lnTo>
                  <a:pt x="0" y="0"/>
                </a:lnTo>
                <a:lnTo>
                  <a:pt x="0" y="61162"/>
                </a:lnTo>
                <a:lnTo>
                  <a:pt x="47587" y="61162"/>
                </a:lnTo>
                <a:lnTo>
                  <a:pt x="47587" y="0"/>
                </a:lnTo>
                <a:close/>
                <a:moveTo>
                  <a:pt x="43062" y="56637"/>
                </a:moveTo>
                <a:lnTo>
                  <a:pt x="4562" y="56637"/>
                </a:lnTo>
                <a:lnTo>
                  <a:pt x="4562" y="4525"/>
                </a:lnTo>
                <a:lnTo>
                  <a:pt x="43062" y="4525"/>
                </a:lnTo>
                <a:lnTo>
                  <a:pt x="43062" y="56637"/>
                </a:lnTo>
                <a:close/>
              </a:path>
            </a:pathLst>
          </a:custGeom>
          <a:solidFill>
            <a:srgbClr val="625A55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75" name="Freihandform: Form 174">
            <a:extLst>
              <a:ext uri="{FF2B5EF4-FFF2-40B4-BE49-F238E27FC236}">
                <a16:creationId xmlns:a16="http://schemas.microsoft.com/office/drawing/2014/main" id="{D403256E-089F-41C4-86CE-86E5DC562AA5}"/>
              </a:ext>
            </a:extLst>
          </p:cNvPr>
          <p:cNvSpPr/>
          <p:nvPr/>
        </p:nvSpPr>
        <p:spPr>
          <a:xfrm>
            <a:off x="8083459" y="5867400"/>
            <a:ext cx="360455" cy="244334"/>
          </a:xfrm>
          <a:custGeom>
            <a:avLst/>
            <a:gdLst>
              <a:gd name="connsiteX0" fmla="*/ 0 w 91761"/>
              <a:gd name="connsiteY0" fmla="*/ 0 h 62200"/>
              <a:gd name="connsiteX1" fmla="*/ 91761 w 91761"/>
              <a:gd name="connsiteY1" fmla="*/ 0 h 62200"/>
              <a:gd name="connsiteX2" fmla="*/ 91761 w 91761"/>
              <a:gd name="connsiteY2" fmla="*/ 62201 h 62200"/>
              <a:gd name="connsiteX3" fmla="*/ 0 w 91761"/>
              <a:gd name="connsiteY3" fmla="*/ 62201 h 62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761" h="62200">
                <a:moveTo>
                  <a:pt x="0" y="0"/>
                </a:moveTo>
                <a:lnTo>
                  <a:pt x="91761" y="0"/>
                </a:lnTo>
                <a:lnTo>
                  <a:pt x="91761" y="62201"/>
                </a:lnTo>
                <a:lnTo>
                  <a:pt x="0" y="62201"/>
                </a:lnTo>
                <a:close/>
              </a:path>
            </a:pathLst>
          </a:custGeom>
          <a:solidFill>
            <a:srgbClr val="000099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88" name="Freihandform: Form 187">
            <a:extLst>
              <a:ext uri="{FF2B5EF4-FFF2-40B4-BE49-F238E27FC236}">
                <a16:creationId xmlns:a16="http://schemas.microsoft.com/office/drawing/2014/main" id="{B867D640-962B-3740-3D91-B0179F93BDF8}"/>
              </a:ext>
            </a:extLst>
          </p:cNvPr>
          <p:cNvSpPr/>
          <p:nvPr/>
        </p:nvSpPr>
        <p:spPr>
          <a:xfrm>
            <a:off x="10169846" y="5286512"/>
            <a:ext cx="109125" cy="108980"/>
          </a:xfrm>
          <a:custGeom>
            <a:avLst/>
            <a:gdLst>
              <a:gd name="connsiteX0" fmla="*/ 3375 w 27780"/>
              <a:gd name="connsiteY0" fmla="*/ 18249 h 27743"/>
              <a:gd name="connsiteX1" fmla="*/ 4080 w 27780"/>
              <a:gd name="connsiteY1" fmla="*/ 23701 h 27743"/>
              <a:gd name="connsiteX2" fmla="*/ 9532 w 27780"/>
              <a:gd name="connsiteY2" fmla="*/ 24405 h 27743"/>
              <a:gd name="connsiteX3" fmla="*/ 13909 w 27780"/>
              <a:gd name="connsiteY3" fmla="*/ 27743 h 27743"/>
              <a:gd name="connsiteX4" fmla="*/ 18248 w 27780"/>
              <a:gd name="connsiteY4" fmla="*/ 24405 h 27743"/>
              <a:gd name="connsiteX5" fmla="*/ 23701 w 27780"/>
              <a:gd name="connsiteY5" fmla="*/ 23701 h 27743"/>
              <a:gd name="connsiteX6" fmla="*/ 24405 w 27780"/>
              <a:gd name="connsiteY6" fmla="*/ 18249 h 27743"/>
              <a:gd name="connsiteX7" fmla="*/ 27781 w 27780"/>
              <a:gd name="connsiteY7" fmla="*/ 13909 h 27743"/>
              <a:gd name="connsiteX8" fmla="*/ 24405 w 27780"/>
              <a:gd name="connsiteY8" fmla="*/ 9532 h 27743"/>
              <a:gd name="connsiteX9" fmla="*/ 23701 w 27780"/>
              <a:gd name="connsiteY9" fmla="*/ 4080 h 27743"/>
              <a:gd name="connsiteX10" fmla="*/ 18248 w 27780"/>
              <a:gd name="connsiteY10" fmla="*/ 3375 h 27743"/>
              <a:gd name="connsiteX11" fmla="*/ 13909 w 27780"/>
              <a:gd name="connsiteY11" fmla="*/ 0 h 27743"/>
              <a:gd name="connsiteX12" fmla="*/ 9532 w 27780"/>
              <a:gd name="connsiteY12" fmla="*/ 3375 h 27743"/>
              <a:gd name="connsiteX13" fmla="*/ 4080 w 27780"/>
              <a:gd name="connsiteY13" fmla="*/ 4080 h 27743"/>
              <a:gd name="connsiteX14" fmla="*/ 3375 w 27780"/>
              <a:gd name="connsiteY14" fmla="*/ 9532 h 27743"/>
              <a:gd name="connsiteX15" fmla="*/ 0 w 27780"/>
              <a:gd name="connsiteY15" fmla="*/ 13909 h 27743"/>
              <a:gd name="connsiteX16" fmla="*/ 3375 w 27780"/>
              <a:gd name="connsiteY16" fmla="*/ 18249 h 27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7780" h="27743">
                <a:moveTo>
                  <a:pt x="3375" y="18249"/>
                </a:moveTo>
                <a:cubicBezTo>
                  <a:pt x="2374" y="19992"/>
                  <a:pt x="2596" y="22217"/>
                  <a:pt x="4080" y="23701"/>
                </a:cubicBezTo>
                <a:cubicBezTo>
                  <a:pt x="5564" y="25184"/>
                  <a:pt x="7789" y="25407"/>
                  <a:pt x="9532" y="24405"/>
                </a:cubicBezTo>
                <a:cubicBezTo>
                  <a:pt x="10051" y="26334"/>
                  <a:pt x="11794" y="27743"/>
                  <a:pt x="13909" y="27743"/>
                </a:cubicBezTo>
                <a:cubicBezTo>
                  <a:pt x="16023" y="27743"/>
                  <a:pt x="17766" y="26334"/>
                  <a:pt x="18248" y="24405"/>
                </a:cubicBezTo>
                <a:cubicBezTo>
                  <a:pt x="19955" y="25407"/>
                  <a:pt x="22217" y="25184"/>
                  <a:pt x="23701" y="23701"/>
                </a:cubicBezTo>
                <a:cubicBezTo>
                  <a:pt x="25184" y="22217"/>
                  <a:pt x="25407" y="19992"/>
                  <a:pt x="24405" y="18249"/>
                </a:cubicBezTo>
                <a:cubicBezTo>
                  <a:pt x="26334" y="17729"/>
                  <a:pt x="27781" y="15986"/>
                  <a:pt x="27781" y="13909"/>
                </a:cubicBezTo>
                <a:cubicBezTo>
                  <a:pt x="27781" y="11832"/>
                  <a:pt x="26334" y="10051"/>
                  <a:pt x="24405" y="9532"/>
                </a:cubicBezTo>
                <a:cubicBezTo>
                  <a:pt x="25407" y="7826"/>
                  <a:pt x="25184" y="5564"/>
                  <a:pt x="23701" y="4080"/>
                </a:cubicBezTo>
                <a:cubicBezTo>
                  <a:pt x="22217" y="2597"/>
                  <a:pt x="19992" y="2374"/>
                  <a:pt x="18248" y="3375"/>
                </a:cubicBezTo>
                <a:cubicBezTo>
                  <a:pt x="17729" y="1447"/>
                  <a:pt x="15986" y="0"/>
                  <a:pt x="13909" y="0"/>
                </a:cubicBezTo>
                <a:cubicBezTo>
                  <a:pt x="11832" y="0"/>
                  <a:pt x="10051" y="1409"/>
                  <a:pt x="9532" y="3375"/>
                </a:cubicBezTo>
                <a:cubicBezTo>
                  <a:pt x="7826" y="2374"/>
                  <a:pt x="5564" y="2597"/>
                  <a:pt x="4080" y="4080"/>
                </a:cubicBezTo>
                <a:cubicBezTo>
                  <a:pt x="2596" y="5564"/>
                  <a:pt x="2374" y="7789"/>
                  <a:pt x="3375" y="9532"/>
                </a:cubicBezTo>
                <a:cubicBezTo>
                  <a:pt x="1447" y="10051"/>
                  <a:pt x="0" y="11795"/>
                  <a:pt x="0" y="13909"/>
                </a:cubicBezTo>
                <a:cubicBezTo>
                  <a:pt x="0" y="16023"/>
                  <a:pt x="1409" y="17766"/>
                  <a:pt x="3375" y="18249"/>
                </a:cubicBezTo>
              </a:path>
            </a:pathLst>
          </a:custGeom>
          <a:solidFill>
            <a:srgbClr val="FE7E58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89" name="Freihandform: Form 188">
            <a:extLst>
              <a:ext uri="{FF2B5EF4-FFF2-40B4-BE49-F238E27FC236}">
                <a16:creationId xmlns:a16="http://schemas.microsoft.com/office/drawing/2014/main" id="{00A542F0-F730-AA5F-EAD4-BEAF603C4AD2}"/>
              </a:ext>
            </a:extLst>
          </p:cNvPr>
          <p:cNvSpPr/>
          <p:nvPr/>
        </p:nvSpPr>
        <p:spPr>
          <a:xfrm>
            <a:off x="10152020" y="5344881"/>
            <a:ext cx="70621" cy="182174"/>
          </a:xfrm>
          <a:custGeom>
            <a:avLst/>
            <a:gdLst>
              <a:gd name="connsiteX0" fmla="*/ 755 w 17978"/>
              <a:gd name="connsiteY0" fmla="*/ 46340 h 46376"/>
              <a:gd name="connsiteX1" fmla="*/ 606 w 17978"/>
              <a:gd name="connsiteY1" fmla="*/ 46340 h 46376"/>
              <a:gd name="connsiteX2" fmla="*/ 13 w 17978"/>
              <a:gd name="connsiteY2" fmla="*/ 45450 h 46376"/>
              <a:gd name="connsiteX3" fmla="*/ 16555 w 17978"/>
              <a:gd name="connsiteY3" fmla="*/ 385 h 46376"/>
              <a:gd name="connsiteX4" fmla="*/ 17593 w 17978"/>
              <a:gd name="connsiteY4" fmla="*/ 88 h 46376"/>
              <a:gd name="connsiteX5" fmla="*/ 17890 w 17978"/>
              <a:gd name="connsiteY5" fmla="*/ 1127 h 46376"/>
              <a:gd name="connsiteX6" fmla="*/ 1533 w 17978"/>
              <a:gd name="connsiteY6" fmla="*/ 45746 h 46376"/>
              <a:gd name="connsiteX7" fmla="*/ 792 w 17978"/>
              <a:gd name="connsiteY7" fmla="*/ 46377 h 46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978" h="46376">
                <a:moveTo>
                  <a:pt x="755" y="46340"/>
                </a:moveTo>
                <a:cubicBezTo>
                  <a:pt x="755" y="46340"/>
                  <a:pt x="643" y="46340"/>
                  <a:pt x="606" y="46340"/>
                </a:cubicBezTo>
                <a:cubicBezTo>
                  <a:pt x="198" y="46265"/>
                  <a:pt x="-61" y="45858"/>
                  <a:pt x="13" y="45450"/>
                </a:cubicBezTo>
                <a:cubicBezTo>
                  <a:pt x="4983" y="20599"/>
                  <a:pt x="16444" y="570"/>
                  <a:pt x="16555" y="385"/>
                </a:cubicBezTo>
                <a:cubicBezTo>
                  <a:pt x="16777" y="14"/>
                  <a:pt x="17222" y="-97"/>
                  <a:pt x="17593" y="88"/>
                </a:cubicBezTo>
                <a:cubicBezTo>
                  <a:pt x="17965" y="311"/>
                  <a:pt x="18075" y="756"/>
                  <a:pt x="17890" y="1127"/>
                </a:cubicBezTo>
                <a:cubicBezTo>
                  <a:pt x="17779" y="1312"/>
                  <a:pt x="6430" y="21119"/>
                  <a:pt x="1533" y="45746"/>
                </a:cubicBezTo>
                <a:cubicBezTo>
                  <a:pt x="1459" y="46117"/>
                  <a:pt x="1125" y="46377"/>
                  <a:pt x="792" y="46377"/>
                </a:cubicBezTo>
              </a:path>
            </a:pathLst>
          </a:custGeom>
          <a:solidFill>
            <a:srgbClr val="23400D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90" name="Freihandform: Form 189">
            <a:extLst>
              <a:ext uri="{FF2B5EF4-FFF2-40B4-BE49-F238E27FC236}">
                <a16:creationId xmlns:a16="http://schemas.microsoft.com/office/drawing/2014/main" id="{EB3B312D-C287-8BD9-836B-50C4CADEB580}"/>
              </a:ext>
            </a:extLst>
          </p:cNvPr>
          <p:cNvSpPr/>
          <p:nvPr/>
        </p:nvSpPr>
        <p:spPr>
          <a:xfrm>
            <a:off x="10121910" y="5412407"/>
            <a:ext cx="117917" cy="123247"/>
          </a:xfrm>
          <a:custGeom>
            <a:avLst/>
            <a:gdLst>
              <a:gd name="connsiteX0" fmla="*/ 17247 w 30018"/>
              <a:gd name="connsiteY0" fmla="*/ 31375 h 31375"/>
              <a:gd name="connsiteX1" fmla="*/ 18731 w 30018"/>
              <a:gd name="connsiteY1" fmla="*/ 29410 h 31375"/>
              <a:gd name="connsiteX2" fmla="*/ 29339 w 30018"/>
              <a:gd name="connsiteY2" fmla="*/ 5375 h 31375"/>
              <a:gd name="connsiteX3" fmla="*/ 9495 w 30018"/>
              <a:gd name="connsiteY3" fmla="*/ 22585 h 31375"/>
              <a:gd name="connsiteX4" fmla="*/ 8679 w 30018"/>
              <a:gd name="connsiteY4" fmla="*/ 23698 h 31375"/>
              <a:gd name="connsiteX5" fmla="*/ 11349 w 30018"/>
              <a:gd name="connsiteY5" fmla="*/ 34 h 31375"/>
              <a:gd name="connsiteX6" fmla="*/ 0 w 30018"/>
              <a:gd name="connsiteY6" fmla="*/ 31375 h 31375"/>
              <a:gd name="connsiteX7" fmla="*/ 17247 w 30018"/>
              <a:gd name="connsiteY7" fmla="*/ 31375 h 31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0018" h="31375">
                <a:moveTo>
                  <a:pt x="17247" y="31375"/>
                </a:moveTo>
                <a:cubicBezTo>
                  <a:pt x="17729" y="30745"/>
                  <a:pt x="18249" y="30077"/>
                  <a:pt x="18731" y="29410"/>
                </a:cubicBezTo>
                <a:cubicBezTo>
                  <a:pt x="27150" y="18023"/>
                  <a:pt x="31860" y="7267"/>
                  <a:pt x="29339" y="5375"/>
                </a:cubicBezTo>
                <a:cubicBezTo>
                  <a:pt x="26779" y="3483"/>
                  <a:pt x="17914" y="11198"/>
                  <a:pt x="9495" y="22585"/>
                </a:cubicBezTo>
                <a:cubicBezTo>
                  <a:pt x="9235" y="22956"/>
                  <a:pt x="8939" y="23327"/>
                  <a:pt x="8679" y="23698"/>
                </a:cubicBezTo>
                <a:cubicBezTo>
                  <a:pt x="12017" y="11087"/>
                  <a:pt x="13204" y="516"/>
                  <a:pt x="11349" y="34"/>
                </a:cubicBezTo>
                <a:cubicBezTo>
                  <a:pt x="7604" y="-967"/>
                  <a:pt x="2448" y="20285"/>
                  <a:pt x="0" y="31375"/>
                </a:cubicBezTo>
                <a:lnTo>
                  <a:pt x="17247" y="31375"/>
                </a:lnTo>
                <a:close/>
              </a:path>
            </a:pathLst>
          </a:custGeom>
          <a:solidFill>
            <a:srgbClr val="23400D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91" name="Freihandform: Form 190">
            <a:extLst>
              <a:ext uri="{FF2B5EF4-FFF2-40B4-BE49-F238E27FC236}">
                <a16:creationId xmlns:a16="http://schemas.microsoft.com/office/drawing/2014/main" id="{8B9518B6-8467-B0BD-4B49-034320927AB7}"/>
              </a:ext>
            </a:extLst>
          </p:cNvPr>
          <p:cNvSpPr/>
          <p:nvPr/>
        </p:nvSpPr>
        <p:spPr>
          <a:xfrm>
            <a:off x="5453599" y="5286803"/>
            <a:ext cx="109271" cy="108980"/>
          </a:xfrm>
          <a:custGeom>
            <a:avLst/>
            <a:gdLst>
              <a:gd name="connsiteX0" fmla="*/ 3375 w 27817"/>
              <a:gd name="connsiteY0" fmla="*/ 18249 h 27743"/>
              <a:gd name="connsiteX1" fmla="*/ 4080 w 27817"/>
              <a:gd name="connsiteY1" fmla="*/ 23701 h 27743"/>
              <a:gd name="connsiteX2" fmla="*/ 9532 w 27817"/>
              <a:gd name="connsiteY2" fmla="*/ 24405 h 27743"/>
              <a:gd name="connsiteX3" fmla="*/ 13909 w 27817"/>
              <a:gd name="connsiteY3" fmla="*/ 27743 h 27743"/>
              <a:gd name="connsiteX4" fmla="*/ 18286 w 27817"/>
              <a:gd name="connsiteY4" fmla="*/ 24405 h 27743"/>
              <a:gd name="connsiteX5" fmla="*/ 23738 w 27817"/>
              <a:gd name="connsiteY5" fmla="*/ 23701 h 27743"/>
              <a:gd name="connsiteX6" fmla="*/ 24443 w 27817"/>
              <a:gd name="connsiteY6" fmla="*/ 18249 h 27743"/>
              <a:gd name="connsiteX7" fmla="*/ 27818 w 27817"/>
              <a:gd name="connsiteY7" fmla="*/ 13909 h 27743"/>
              <a:gd name="connsiteX8" fmla="*/ 24443 w 27817"/>
              <a:gd name="connsiteY8" fmla="*/ 9532 h 27743"/>
              <a:gd name="connsiteX9" fmla="*/ 23738 w 27817"/>
              <a:gd name="connsiteY9" fmla="*/ 4080 h 27743"/>
              <a:gd name="connsiteX10" fmla="*/ 18286 w 27817"/>
              <a:gd name="connsiteY10" fmla="*/ 3375 h 27743"/>
              <a:gd name="connsiteX11" fmla="*/ 13909 w 27817"/>
              <a:gd name="connsiteY11" fmla="*/ 0 h 27743"/>
              <a:gd name="connsiteX12" fmla="*/ 9532 w 27817"/>
              <a:gd name="connsiteY12" fmla="*/ 3375 h 27743"/>
              <a:gd name="connsiteX13" fmla="*/ 4080 w 27817"/>
              <a:gd name="connsiteY13" fmla="*/ 4080 h 27743"/>
              <a:gd name="connsiteX14" fmla="*/ 3375 w 27817"/>
              <a:gd name="connsiteY14" fmla="*/ 9532 h 27743"/>
              <a:gd name="connsiteX15" fmla="*/ 0 w 27817"/>
              <a:gd name="connsiteY15" fmla="*/ 13909 h 27743"/>
              <a:gd name="connsiteX16" fmla="*/ 3375 w 27817"/>
              <a:gd name="connsiteY16" fmla="*/ 18249 h 27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7817" h="27743">
                <a:moveTo>
                  <a:pt x="3375" y="18249"/>
                </a:moveTo>
                <a:cubicBezTo>
                  <a:pt x="2374" y="19992"/>
                  <a:pt x="2596" y="22217"/>
                  <a:pt x="4080" y="23701"/>
                </a:cubicBezTo>
                <a:cubicBezTo>
                  <a:pt x="5564" y="25184"/>
                  <a:pt x="7789" y="25407"/>
                  <a:pt x="9532" y="24405"/>
                </a:cubicBezTo>
                <a:cubicBezTo>
                  <a:pt x="10052" y="26334"/>
                  <a:pt x="11795" y="27743"/>
                  <a:pt x="13909" y="27743"/>
                </a:cubicBezTo>
                <a:cubicBezTo>
                  <a:pt x="16023" y="27743"/>
                  <a:pt x="17766" y="26334"/>
                  <a:pt x="18286" y="24405"/>
                </a:cubicBezTo>
                <a:cubicBezTo>
                  <a:pt x="19992" y="25407"/>
                  <a:pt x="22254" y="25184"/>
                  <a:pt x="23738" y="23701"/>
                </a:cubicBezTo>
                <a:cubicBezTo>
                  <a:pt x="25222" y="22217"/>
                  <a:pt x="25444" y="19992"/>
                  <a:pt x="24443" y="18249"/>
                </a:cubicBezTo>
                <a:cubicBezTo>
                  <a:pt x="26371" y="17729"/>
                  <a:pt x="27818" y="15986"/>
                  <a:pt x="27818" y="13909"/>
                </a:cubicBezTo>
                <a:cubicBezTo>
                  <a:pt x="27818" y="11832"/>
                  <a:pt x="26409" y="10051"/>
                  <a:pt x="24443" y="9532"/>
                </a:cubicBezTo>
                <a:cubicBezTo>
                  <a:pt x="25444" y="7826"/>
                  <a:pt x="25222" y="5564"/>
                  <a:pt x="23738" y="4080"/>
                </a:cubicBezTo>
                <a:cubicBezTo>
                  <a:pt x="22254" y="2596"/>
                  <a:pt x="20029" y="2374"/>
                  <a:pt x="18286" y="3375"/>
                </a:cubicBezTo>
                <a:cubicBezTo>
                  <a:pt x="17766" y="1447"/>
                  <a:pt x="16023" y="0"/>
                  <a:pt x="13909" y="0"/>
                </a:cubicBezTo>
                <a:cubicBezTo>
                  <a:pt x="11795" y="0"/>
                  <a:pt x="10052" y="1409"/>
                  <a:pt x="9532" y="3375"/>
                </a:cubicBezTo>
                <a:cubicBezTo>
                  <a:pt x="7826" y="2374"/>
                  <a:pt x="5564" y="2596"/>
                  <a:pt x="4080" y="4080"/>
                </a:cubicBezTo>
                <a:cubicBezTo>
                  <a:pt x="2596" y="5564"/>
                  <a:pt x="2374" y="7789"/>
                  <a:pt x="3375" y="9532"/>
                </a:cubicBezTo>
                <a:cubicBezTo>
                  <a:pt x="1447" y="10051"/>
                  <a:pt x="0" y="11795"/>
                  <a:pt x="0" y="13909"/>
                </a:cubicBezTo>
                <a:cubicBezTo>
                  <a:pt x="0" y="16023"/>
                  <a:pt x="1409" y="17766"/>
                  <a:pt x="3375" y="18249"/>
                </a:cubicBezTo>
              </a:path>
            </a:pathLst>
          </a:custGeom>
          <a:solidFill>
            <a:srgbClr val="FDC83A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92" name="Freihandform: Form 191">
            <a:extLst>
              <a:ext uri="{FF2B5EF4-FFF2-40B4-BE49-F238E27FC236}">
                <a16:creationId xmlns:a16="http://schemas.microsoft.com/office/drawing/2014/main" id="{EB2CA85F-FEDD-2ED2-D218-2C180D25D543}"/>
              </a:ext>
            </a:extLst>
          </p:cNvPr>
          <p:cNvSpPr/>
          <p:nvPr/>
        </p:nvSpPr>
        <p:spPr>
          <a:xfrm>
            <a:off x="5435777" y="5345172"/>
            <a:ext cx="70578" cy="182174"/>
          </a:xfrm>
          <a:custGeom>
            <a:avLst/>
            <a:gdLst>
              <a:gd name="connsiteX0" fmla="*/ 755 w 17967"/>
              <a:gd name="connsiteY0" fmla="*/ 46340 h 46376"/>
              <a:gd name="connsiteX1" fmla="*/ 606 w 17967"/>
              <a:gd name="connsiteY1" fmla="*/ 46340 h 46376"/>
              <a:gd name="connsiteX2" fmla="*/ 13 w 17967"/>
              <a:gd name="connsiteY2" fmla="*/ 45450 h 46376"/>
              <a:gd name="connsiteX3" fmla="*/ 16555 w 17967"/>
              <a:gd name="connsiteY3" fmla="*/ 385 h 46376"/>
              <a:gd name="connsiteX4" fmla="*/ 17593 w 17967"/>
              <a:gd name="connsiteY4" fmla="*/ 88 h 46376"/>
              <a:gd name="connsiteX5" fmla="*/ 17853 w 17967"/>
              <a:gd name="connsiteY5" fmla="*/ 1126 h 46376"/>
              <a:gd name="connsiteX6" fmla="*/ 1496 w 17967"/>
              <a:gd name="connsiteY6" fmla="*/ 45746 h 46376"/>
              <a:gd name="connsiteX7" fmla="*/ 755 w 17967"/>
              <a:gd name="connsiteY7" fmla="*/ 46377 h 46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967" h="46376">
                <a:moveTo>
                  <a:pt x="755" y="46340"/>
                </a:moveTo>
                <a:cubicBezTo>
                  <a:pt x="755" y="46340"/>
                  <a:pt x="643" y="46340"/>
                  <a:pt x="606" y="46340"/>
                </a:cubicBezTo>
                <a:cubicBezTo>
                  <a:pt x="198" y="46265"/>
                  <a:pt x="-62" y="45858"/>
                  <a:pt x="13" y="45450"/>
                </a:cubicBezTo>
                <a:cubicBezTo>
                  <a:pt x="4983" y="20599"/>
                  <a:pt x="16444" y="570"/>
                  <a:pt x="16555" y="385"/>
                </a:cubicBezTo>
                <a:cubicBezTo>
                  <a:pt x="16778" y="14"/>
                  <a:pt x="17223" y="-97"/>
                  <a:pt x="17593" y="88"/>
                </a:cubicBezTo>
                <a:cubicBezTo>
                  <a:pt x="17964" y="311"/>
                  <a:pt x="18076" y="756"/>
                  <a:pt x="17853" y="1126"/>
                </a:cubicBezTo>
                <a:cubicBezTo>
                  <a:pt x="17742" y="1312"/>
                  <a:pt x="6392" y="21118"/>
                  <a:pt x="1496" y="45746"/>
                </a:cubicBezTo>
                <a:cubicBezTo>
                  <a:pt x="1422" y="46117"/>
                  <a:pt x="1088" y="46377"/>
                  <a:pt x="755" y="46377"/>
                </a:cubicBezTo>
              </a:path>
            </a:pathLst>
          </a:custGeom>
          <a:solidFill>
            <a:srgbClr val="23400D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93" name="Freihandform: Form 192">
            <a:extLst>
              <a:ext uri="{FF2B5EF4-FFF2-40B4-BE49-F238E27FC236}">
                <a16:creationId xmlns:a16="http://schemas.microsoft.com/office/drawing/2014/main" id="{DD5142D8-C5B1-87DD-2F33-E5C66F5EE3D6}"/>
              </a:ext>
            </a:extLst>
          </p:cNvPr>
          <p:cNvSpPr/>
          <p:nvPr/>
        </p:nvSpPr>
        <p:spPr>
          <a:xfrm>
            <a:off x="5405663" y="5412843"/>
            <a:ext cx="117905" cy="123247"/>
          </a:xfrm>
          <a:custGeom>
            <a:avLst/>
            <a:gdLst>
              <a:gd name="connsiteX0" fmla="*/ 17247 w 30015"/>
              <a:gd name="connsiteY0" fmla="*/ 31375 h 31375"/>
              <a:gd name="connsiteX1" fmla="*/ 18731 w 30015"/>
              <a:gd name="connsiteY1" fmla="*/ 29409 h 31375"/>
              <a:gd name="connsiteX2" fmla="*/ 29339 w 30015"/>
              <a:gd name="connsiteY2" fmla="*/ 5375 h 31375"/>
              <a:gd name="connsiteX3" fmla="*/ 9495 w 30015"/>
              <a:gd name="connsiteY3" fmla="*/ 22585 h 31375"/>
              <a:gd name="connsiteX4" fmla="*/ 8679 w 30015"/>
              <a:gd name="connsiteY4" fmla="*/ 23698 h 31375"/>
              <a:gd name="connsiteX5" fmla="*/ 11350 w 30015"/>
              <a:gd name="connsiteY5" fmla="*/ 34 h 31375"/>
              <a:gd name="connsiteX6" fmla="*/ 0 w 30015"/>
              <a:gd name="connsiteY6" fmla="*/ 31375 h 31375"/>
              <a:gd name="connsiteX7" fmla="*/ 17247 w 30015"/>
              <a:gd name="connsiteY7" fmla="*/ 31375 h 31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0015" h="31375">
                <a:moveTo>
                  <a:pt x="17247" y="31375"/>
                </a:moveTo>
                <a:cubicBezTo>
                  <a:pt x="17729" y="30745"/>
                  <a:pt x="18248" y="30077"/>
                  <a:pt x="18731" y="29409"/>
                </a:cubicBezTo>
                <a:cubicBezTo>
                  <a:pt x="27113" y="18023"/>
                  <a:pt x="31861" y="7267"/>
                  <a:pt x="29339" y="5375"/>
                </a:cubicBezTo>
                <a:cubicBezTo>
                  <a:pt x="26779" y="3483"/>
                  <a:pt x="17915" y="11198"/>
                  <a:pt x="9495" y="22585"/>
                </a:cubicBezTo>
                <a:cubicBezTo>
                  <a:pt x="9235" y="22956"/>
                  <a:pt x="8939" y="23327"/>
                  <a:pt x="8679" y="23698"/>
                </a:cubicBezTo>
                <a:cubicBezTo>
                  <a:pt x="12017" y="11087"/>
                  <a:pt x="13204" y="516"/>
                  <a:pt x="11350" y="34"/>
                </a:cubicBezTo>
                <a:cubicBezTo>
                  <a:pt x="7603" y="-967"/>
                  <a:pt x="2448" y="20285"/>
                  <a:pt x="0" y="31375"/>
                </a:cubicBezTo>
                <a:lnTo>
                  <a:pt x="17247" y="31375"/>
                </a:lnTo>
                <a:close/>
              </a:path>
            </a:pathLst>
          </a:custGeom>
          <a:solidFill>
            <a:srgbClr val="23400D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94" name="Freihandform: Form 193">
            <a:extLst>
              <a:ext uri="{FF2B5EF4-FFF2-40B4-BE49-F238E27FC236}">
                <a16:creationId xmlns:a16="http://schemas.microsoft.com/office/drawing/2014/main" id="{7C9A100E-391A-DB23-89DB-F066995676A3}"/>
              </a:ext>
            </a:extLst>
          </p:cNvPr>
          <p:cNvSpPr/>
          <p:nvPr/>
        </p:nvSpPr>
        <p:spPr>
          <a:xfrm>
            <a:off x="5259676" y="5286803"/>
            <a:ext cx="109125" cy="108980"/>
          </a:xfrm>
          <a:custGeom>
            <a:avLst/>
            <a:gdLst>
              <a:gd name="connsiteX0" fmla="*/ 24443 w 27780"/>
              <a:gd name="connsiteY0" fmla="*/ 18249 h 27743"/>
              <a:gd name="connsiteX1" fmla="*/ 23738 w 27780"/>
              <a:gd name="connsiteY1" fmla="*/ 23701 h 27743"/>
              <a:gd name="connsiteX2" fmla="*/ 18286 w 27780"/>
              <a:gd name="connsiteY2" fmla="*/ 24405 h 27743"/>
              <a:gd name="connsiteX3" fmla="*/ 13909 w 27780"/>
              <a:gd name="connsiteY3" fmla="*/ 27743 h 27743"/>
              <a:gd name="connsiteX4" fmla="*/ 9532 w 27780"/>
              <a:gd name="connsiteY4" fmla="*/ 24405 h 27743"/>
              <a:gd name="connsiteX5" fmla="*/ 4080 w 27780"/>
              <a:gd name="connsiteY5" fmla="*/ 23701 h 27743"/>
              <a:gd name="connsiteX6" fmla="*/ 3375 w 27780"/>
              <a:gd name="connsiteY6" fmla="*/ 18249 h 27743"/>
              <a:gd name="connsiteX7" fmla="*/ 0 w 27780"/>
              <a:gd name="connsiteY7" fmla="*/ 13909 h 27743"/>
              <a:gd name="connsiteX8" fmla="*/ 3375 w 27780"/>
              <a:gd name="connsiteY8" fmla="*/ 9532 h 27743"/>
              <a:gd name="connsiteX9" fmla="*/ 4080 w 27780"/>
              <a:gd name="connsiteY9" fmla="*/ 4080 h 27743"/>
              <a:gd name="connsiteX10" fmla="*/ 9532 w 27780"/>
              <a:gd name="connsiteY10" fmla="*/ 3375 h 27743"/>
              <a:gd name="connsiteX11" fmla="*/ 13909 w 27780"/>
              <a:gd name="connsiteY11" fmla="*/ 0 h 27743"/>
              <a:gd name="connsiteX12" fmla="*/ 18286 w 27780"/>
              <a:gd name="connsiteY12" fmla="*/ 3375 h 27743"/>
              <a:gd name="connsiteX13" fmla="*/ 23738 w 27780"/>
              <a:gd name="connsiteY13" fmla="*/ 4080 h 27743"/>
              <a:gd name="connsiteX14" fmla="*/ 24443 w 27780"/>
              <a:gd name="connsiteY14" fmla="*/ 9532 h 27743"/>
              <a:gd name="connsiteX15" fmla="*/ 27781 w 27780"/>
              <a:gd name="connsiteY15" fmla="*/ 13909 h 27743"/>
              <a:gd name="connsiteX16" fmla="*/ 24443 w 27780"/>
              <a:gd name="connsiteY16" fmla="*/ 18249 h 27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7780" h="27743">
                <a:moveTo>
                  <a:pt x="24443" y="18249"/>
                </a:moveTo>
                <a:cubicBezTo>
                  <a:pt x="25444" y="19992"/>
                  <a:pt x="25222" y="22217"/>
                  <a:pt x="23738" y="23701"/>
                </a:cubicBezTo>
                <a:cubicBezTo>
                  <a:pt x="22254" y="25184"/>
                  <a:pt x="20029" y="25407"/>
                  <a:pt x="18286" y="24405"/>
                </a:cubicBezTo>
                <a:cubicBezTo>
                  <a:pt x="17766" y="26334"/>
                  <a:pt x="16023" y="27743"/>
                  <a:pt x="13909" y="27743"/>
                </a:cubicBezTo>
                <a:cubicBezTo>
                  <a:pt x="11795" y="27743"/>
                  <a:pt x="10052" y="26334"/>
                  <a:pt x="9532" y="24405"/>
                </a:cubicBezTo>
                <a:cubicBezTo>
                  <a:pt x="7826" y="25407"/>
                  <a:pt x="5564" y="25184"/>
                  <a:pt x="4080" y="23701"/>
                </a:cubicBezTo>
                <a:cubicBezTo>
                  <a:pt x="2596" y="22217"/>
                  <a:pt x="2374" y="19992"/>
                  <a:pt x="3375" y="18249"/>
                </a:cubicBezTo>
                <a:cubicBezTo>
                  <a:pt x="1447" y="17729"/>
                  <a:pt x="0" y="15986"/>
                  <a:pt x="0" y="13909"/>
                </a:cubicBezTo>
                <a:cubicBezTo>
                  <a:pt x="0" y="11832"/>
                  <a:pt x="1409" y="10051"/>
                  <a:pt x="3375" y="9532"/>
                </a:cubicBezTo>
                <a:cubicBezTo>
                  <a:pt x="2374" y="7826"/>
                  <a:pt x="2596" y="5564"/>
                  <a:pt x="4080" y="4080"/>
                </a:cubicBezTo>
                <a:cubicBezTo>
                  <a:pt x="5564" y="2596"/>
                  <a:pt x="7789" y="2374"/>
                  <a:pt x="9532" y="3375"/>
                </a:cubicBezTo>
                <a:cubicBezTo>
                  <a:pt x="10052" y="1447"/>
                  <a:pt x="11795" y="0"/>
                  <a:pt x="13909" y="0"/>
                </a:cubicBezTo>
                <a:cubicBezTo>
                  <a:pt x="16023" y="0"/>
                  <a:pt x="17766" y="1409"/>
                  <a:pt x="18286" y="3375"/>
                </a:cubicBezTo>
                <a:cubicBezTo>
                  <a:pt x="19992" y="2374"/>
                  <a:pt x="22254" y="2596"/>
                  <a:pt x="23738" y="4080"/>
                </a:cubicBezTo>
                <a:cubicBezTo>
                  <a:pt x="25222" y="5564"/>
                  <a:pt x="25444" y="7789"/>
                  <a:pt x="24443" y="9532"/>
                </a:cubicBezTo>
                <a:cubicBezTo>
                  <a:pt x="26371" y="10051"/>
                  <a:pt x="27781" y="11795"/>
                  <a:pt x="27781" y="13909"/>
                </a:cubicBezTo>
                <a:cubicBezTo>
                  <a:pt x="27781" y="16023"/>
                  <a:pt x="26371" y="17766"/>
                  <a:pt x="24443" y="18249"/>
                </a:cubicBezTo>
              </a:path>
            </a:pathLst>
          </a:custGeom>
          <a:solidFill>
            <a:srgbClr val="FDC83A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95" name="Freihandform: Form 194">
            <a:extLst>
              <a:ext uri="{FF2B5EF4-FFF2-40B4-BE49-F238E27FC236}">
                <a16:creationId xmlns:a16="http://schemas.microsoft.com/office/drawing/2014/main" id="{5B05E643-6DAF-555A-D59C-AEBF2014D70D}"/>
              </a:ext>
            </a:extLst>
          </p:cNvPr>
          <p:cNvSpPr/>
          <p:nvPr/>
        </p:nvSpPr>
        <p:spPr>
          <a:xfrm>
            <a:off x="5316195" y="5345172"/>
            <a:ext cx="70578" cy="182174"/>
          </a:xfrm>
          <a:custGeom>
            <a:avLst/>
            <a:gdLst>
              <a:gd name="connsiteX0" fmla="*/ 17213 w 17967"/>
              <a:gd name="connsiteY0" fmla="*/ 46340 h 46376"/>
              <a:gd name="connsiteX1" fmla="*/ 17361 w 17967"/>
              <a:gd name="connsiteY1" fmla="*/ 46340 h 46376"/>
              <a:gd name="connsiteX2" fmla="*/ 17955 w 17967"/>
              <a:gd name="connsiteY2" fmla="*/ 45450 h 46376"/>
              <a:gd name="connsiteX3" fmla="*/ 1412 w 17967"/>
              <a:gd name="connsiteY3" fmla="*/ 385 h 46376"/>
              <a:gd name="connsiteX4" fmla="*/ 374 w 17967"/>
              <a:gd name="connsiteY4" fmla="*/ 88 h 46376"/>
              <a:gd name="connsiteX5" fmla="*/ 114 w 17967"/>
              <a:gd name="connsiteY5" fmla="*/ 1126 h 46376"/>
              <a:gd name="connsiteX6" fmla="*/ 16471 w 17967"/>
              <a:gd name="connsiteY6" fmla="*/ 45746 h 46376"/>
              <a:gd name="connsiteX7" fmla="*/ 17213 w 17967"/>
              <a:gd name="connsiteY7" fmla="*/ 46377 h 46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967" h="46376">
                <a:moveTo>
                  <a:pt x="17213" y="46340"/>
                </a:moveTo>
                <a:cubicBezTo>
                  <a:pt x="17213" y="46340"/>
                  <a:pt x="17324" y="46340"/>
                  <a:pt x="17361" y="46340"/>
                </a:cubicBezTo>
                <a:cubicBezTo>
                  <a:pt x="17769" y="46265"/>
                  <a:pt x="18029" y="45858"/>
                  <a:pt x="17955" y="45450"/>
                </a:cubicBezTo>
                <a:cubicBezTo>
                  <a:pt x="12984" y="20599"/>
                  <a:pt x="1524" y="570"/>
                  <a:pt x="1412" y="385"/>
                </a:cubicBezTo>
                <a:cubicBezTo>
                  <a:pt x="1190" y="14"/>
                  <a:pt x="745" y="-97"/>
                  <a:pt x="374" y="88"/>
                </a:cubicBezTo>
                <a:cubicBezTo>
                  <a:pt x="3" y="311"/>
                  <a:pt x="-108" y="756"/>
                  <a:pt x="114" y="1126"/>
                </a:cubicBezTo>
                <a:cubicBezTo>
                  <a:pt x="225" y="1312"/>
                  <a:pt x="11575" y="21118"/>
                  <a:pt x="16471" y="45746"/>
                </a:cubicBezTo>
                <a:cubicBezTo>
                  <a:pt x="16545" y="46117"/>
                  <a:pt x="16879" y="46377"/>
                  <a:pt x="17213" y="46377"/>
                </a:cubicBezTo>
              </a:path>
            </a:pathLst>
          </a:custGeom>
          <a:solidFill>
            <a:srgbClr val="23400D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196" name="Freihandform: Form 195">
            <a:extLst>
              <a:ext uri="{FF2B5EF4-FFF2-40B4-BE49-F238E27FC236}">
                <a16:creationId xmlns:a16="http://schemas.microsoft.com/office/drawing/2014/main" id="{398E6F39-7A6F-0000-175E-08F43557D507}"/>
              </a:ext>
            </a:extLst>
          </p:cNvPr>
          <p:cNvSpPr/>
          <p:nvPr/>
        </p:nvSpPr>
        <p:spPr>
          <a:xfrm>
            <a:off x="5298977" y="5412843"/>
            <a:ext cx="117905" cy="123247"/>
          </a:xfrm>
          <a:custGeom>
            <a:avLst/>
            <a:gdLst>
              <a:gd name="connsiteX0" fmla="*/ 12768 w 30015"/>
              <a:gd name="connsiteY0" fmla="*/ 31375 h 31375"/>
              <a:gd name="connsiteX1" fmla="*/ 11285 w 30015"/>
              <a:gd name="connsiteY1" fmla="*/ 29409 h 31375"/>
              <a:gd name="connsiteX2" fmla="*/ 677 w 30015"/>
              <a:gd name="connsiteY2" fmla="*/ 5375 h 31375"/>
              <a:gd name="connsiteX3" fmla="*/ 20520 w 30015"/>
              <a:gd name="connsiteY3" fmla="*/ 22585 h 31375"/>
              <a:gd name="connsiteX4" fmla="*/ 21336 w 30015"/>
              <a:gd name="connsiteY4" fmla="*/ 23698 h 31375"/>
              <a:gd name="connsiteX5" fmla="*/ 18666 w 30015"/>
              <a:gd name="connsiteY5" fmla="*/ 34 h 31375"/>
              <a:gd name="connsiteX6" fmla="*/ 30015 w 30015"/>
              <a:gd name="connsiteY6" fmla="*/ 31375 h 31375"/>
              <a:gd name="connsiteX7" fmla="*/ 12768 w 30015"/>
              <a:gd name="connsiteY7" fmla="*/ 31375 h 31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0015" h="31375">
                <a:moveTo>
                  <a:pt x="12768" y="31375"/>
                </a:moveTo>
                <a:cubicBezTo>
                  <a:pt x="12286" y="30745"/>
                  <a:pt x="11767" y="30077"/>
                  <a:pt x="11285" y="29409"/>
                </a:cubicBezTo>
                <a:cubicBezTo>
                  <a:pt x="2902" y="18023"/>
                  <a:pt x="-1846" y="7267"/>
                  <a:pt x="677" y="5375"/>
                </a:cubicBezTo>
                <a:cubicBezTo>
                  <a:pt x="3236" y="3483"/>
                  <a:pt x="12100" y="11198"/>
                  <a:pt x="20520" y="22585"/>
                </a:cubicBezTo>
                <a:cubicBezTo>
                  <a:pt x="20780" y="22956"/>
                  <a:pt x="21076" y="23327"/>
                  <a:pt x="21336" y="23698"/>
                </a:cubicBezTo>
                <a:cubicBezTo>
                  <a:pt x="17998" y="11087"/>
                  <a:pt x="16811" y="516"/>
                  <a:pt x="18666" y="34"/>
                </a:cubicBezTo>
                <a:cubicBezTo>
                  <a:pt x="22412" y="-967"/>
                  <a:pt x="27567" y="20285"/>
                  <a:pt x="30015" y="31375"/>
                </a:cubicBezTo>
                <a:lnTo>
                  <a:pt x="12768" y="31375"/>
                </a:lnTo>
                <a:close/>
              </a:path>
            </a:pathLst>
          </a:custGeom>
          <a:solidFill>
            <a:srgbClr val="23400D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00" name="Freihandform: Form 199">
            <a:extLst>
              <a:ext uri="{FF2B5EF4-FFF2-40B4-BE49-F238E27FC236}">
                <a16:creationId xmlns:a16="http://schemas.microsoft.com/office/drawing/2014/main" id="{9180A151-4661-6BE5-DA4A-276E21EB3336}"/>
              </a:ext>
            </a:extLst>
          </p:cNvPr>
          <p:cNvSpPr/>
          <p:nvPr/>
        </p:nvSpPr>
        <p:spPr>
          <a:xfrm>
            <a:off x="10469123" y="5288841"/>
            <a:ext cx="67746" cy="247249"/>
          </a:xfrm>
          <a:custGeom>
            <a:avLst/>
            <a:gdLst>
              <a:gd name="connsiteX0" fmla="*/ 0 w 17246"/>
              <a:gd name="connsiteY0" fmla="*/ 0 h 62942"/>
              <a:gd name="connsiteX1" fmla="*/ 17247 w 17246"/>
              <a:gd name="connsiteY1" fmla="*/ 0 h 62942"/>
              <a:gd name="connsiteX2" fmla="*/ 17247 w 17246"/>
              <a:gd name="connsiteY2" fmla="*/ 62942 h 62942"/>
              <a:gd name="connsiteX3" fmla="*/ 0 w 17246"/>
              <a:gd name="connsiteY3" fmla="*/ 62942 h 629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246" h="62942">
                <a:moveTo>
                  <a:pt x="0" y="0"/>
                </a:moveTo>
                <a:lnTo>
                  <a:pt x="17247" y="0"/>
                </a:lnTo>
                <a:lnTo>
                  <a:pt x="17247" y="62942"/>
                </a:lnTo>
                <a:lnTo>
                  <a:pt x="0" y="62942"/>
                </a:lnTo>
                <a:close/>
              </a:path>
            </a:pathLst>
          </a:custGeom>
          <a:solidFill>
            <a:srgbClr val="CA8A04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01" name="Freihandform: Form 200">
            <a:extLst>
              <a:ext uri="{FF2B5EF4-FFF2-40B4-BE49-F238E27FC236}">
                <a16:creationId xmlns:a16="http://schemas.microsoft.com/office/drawing/2014/main" id="{6AD762E2-9C40-EF90-E80A-70CEB016D513}"/>
              </a:ext>
            </a:extLst>
          </p:cNvPr>
          <p:cNvSpPr/>
          <p:nvPr/>
        </p:nvSpPr>
        <p:spPr>
          <a:xfrm>
            <a:off x="10337713" y="4897424"/>
            <a:ext cx="330287" cy="494776"/>
          </a:xfrm>
          <a:custGeom>
            <a:avLst/>
            <a:gdLst>
              <a:gd name="connsiteX0" fmla="*/ 84081 w 84081"/>
              <a:gd name="connsiteY0" fmla="*/ 42042 h 125955"/>
              <a:gd name="connsiteX1" fmla="*/ 40760 w 84081"/>
              <a:gd name="connsiteY1" fmla="*/ 19 h 125955"/>
              <a:gd name="connsiteX2" fmla="*/ 35 w 84081"/>
              <a:gd name="connsiteY2" fmla="*/ 40262 h 125955"/>
              <a:gd name="connsiteX3" fmla="*/ 11867 w 84081"/>
              <a:gd name="connsiteY3" fmla="*/ 71269 h 125955"/>
              <a:gd name="connsiteX4" fmla="*/ 16057 w 84081"/>
              <a:gd name="connsiteY4" fmla="*/ 90297 h 125955"/>
              <a:gd name="connsiteX5" fmla="*/ 14759 w 84081"/>
              <a:gd name="connsiteY5" fmla="*/ 99569 h 125955"/>
              <a:gd name="connsiteX6" fmla="*/ 40277 w 84081"/>
              <a:gd name="connsiteY6" fmla="*/ 125903 h 125955"/>
              <a:gd name="connsiteX7" fmla="*/ 69282 w 84081"/>
              <a:gd name="connsiteY7" fmla="*/ 98679 h 125955"/>
              <a:gd name="connsiteX8" fmla="*/ 68021 w 84081"/>
              <a:gd name="connsiteY8" fmla="*/ 90482 h 125955"/>
              <a:gd name="connsiteX9" fmla="*/ 72361 w 84081"/>
              <a:gd name="connsiteY9" fmla="*/ 71084 h 125955"/>
              <a:gd name="connsiteX10" fmla="*/ 84007 w 84081"/>
              <a:gd name="connsiteY10" fmla="*/ 42042 h 1259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081" h="125955">
                <a:moveTo>
                  <a:pt x="84081" y="42042"/>
                </a:moveTo>
                <a:cubicBezTo>
                  <a:pt x="84081" y="18416"/>
                  <a:pt x="64572" y="-686"/>
                  <a:pt x="40760" y="19"/>
                </a:cubicBezTo>
                <a:cubicBezTo>
                  <a:pt x="18876" y="687"/>
                  <a:pt x="962" y="18416"/>
                  <a:pt x="35" y="40262"/>
                </a:cubicBezTo>
                <a:cubicBezTo>
                  <a:pt x="-448" y="52316"/>
                  <a:pt x="4152" y="63332"/>
                  <a:pt x="11867" y="71269"/>
                </a:cubicBezTo>
                <a:cubicBezTo>
                  <a:pt x="16725" y="76277"/>
                  <a:pt x="18209" y="83658"/>
                  <a:pt x="16057" y="90297"/>
                </a:cubicBezTo>
                <a:cubicBezTo>
                  <a:pt x="15130" y="93190"/>
                  <a:pt x="14648" y="96343"/>
                  <a:pt x="14759" y="99569"/>
                </a:cubicBezTo>
                <a:cubicBezTo>
                  <a:pt x="15204" y="113478"/>
                  <a:pt x="26369" y="125050"/>
                  <a:pt x="40277" y="125903"/>
                </a:cubicBezTo>
                <a:cubicBezTo>
                  <a:pt x="56115" y="126868"/>
                  <a:pt x="69282" y="114331"/>
                  <a:pt x="69282" y="98679"/>
                </a:cubicBezTo>
                <a:cubicBezTo>
                  <a:pt x="69282" y="95823"/>
                  <a:pt x="68837" y="93079"/>
                  <a:pt x="68021" y="90482"/>
                </a:cubicBezTo>
                <a:cubicBezTo>
                  <a:pt x="65870" y="83658"/>
                  <a:pt x="67428" y="76239"/>
                  <a:pt x="72361" y="71084"/>
                </a:cubicBezTo>
                <a:cubicBezTo>
                  <a:pt x="79593" y="63555"/>
                  <a:pt x="84007" y="53318"/>
                  <a:pt x="84007" y="42042"/>
                </a:cubicBezTo>
              </a:path>
            </a:pathLst>
          </a:custGeom>
          <a:solidFill>
            <a:srgbClr val="538327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03" name="Freihandform: Form 202">
            <a:extLst>
              <a:ext uri="{FF2B5EF4-FFF2-40B4-BE49-F238E27FC236}">
                <a16:creationId xmlns:a16="http://schemas.microsoft.com/office/drawing/2014/main" id="{3F2F2221-0437-E487-5921-D939D88DDBB1}"/>
              </a:ext>
            </a:extLst>
          </p:cNvPr>
          <p:cNvSpPr/>
          <p:nvPr/>
        </p:nvSpPr>
        <p:spPr>
          <a:xfrm>
            <a:off x="1400709" y="5616459"/>
            <a:ext cx="551464" cy="542869"/>
          </a:xfrm>
          <a:custGeom>
            <a:avLst/>
            <a:gdLst>
              <a:gd name="connsiteX0" fmla="*/ 126181 w 140386"/>
              <a:gd name="connsiteY0" fmla="*/ 126923 h 138198"/>
              <a:gd name="connsiteX1" fmla="*/ 140387 w 140386"/>
              <a:gd name="connsiteY1" fmla="*/ 126923 h 138198"/>
              <a:gd name="connsiteX2" fmla="*/ 140387 w 140386"/>
              <a:gd name="connsiteY2" fmla="*/ 119913 h 138198"/>
              <a:gd name="connsiteX3" fmla="*/ 97362 w 140386"/>
              <a:gd name="connsiteY3" fmla="*/ 76888 h 138198"/>
              <a:gd name="connsiteX4" fmla="*/ 59196 w 140386"/>
              <a:gd name="connsiteY4" fmla="*/ 100070 h 138198"/>
              <a:gd name="connsiteX5" fmla="*/ 52409 w 140386"/>
              <a:gd name="connsiteY5" fmla="*/ 113088 h 138198"/>
              <a:gd name="connsiteX6" fmla="*/ 34457 w 140386"/>
              <a:gd name="connsiteY6" fmla="*/ 123993 h 138198"/>
              <a:gd name="connsiteX7" fmla="*/ 14206 w 140386"/>
              <a:gd name="connsiteY7" fmla="*/ 103742 h 138198"/>
              <a:gd name="connsiteX8" fmla="*/ 14206 w 140386"/>
              <a:gd name="connsiteY8" fmla="*/ 0 h 138198"/>
              <a:gd name="connsiteX9" fmla="*/ 0 w 140386"/>
              <a:gd name="connsiteY9" fmla="*/ 0 h 138198"/>
              <a:gd name="connsiteX10" fmla="*/ 0 w 140386"/>
              <a:gd name="connsiteY10" fmla="*/ 103742 h 138198"/>
              <a:gd name="connsiteX11" fmla="*/ 34457 w 140386"/>
              <a:gd name="connsiteY11" fmla="*/ 138199 h 138198"/>
              <a:gd name="connsiteX12" fmla="*/ 65019 w 140386"/>
              <a:gd name="connsiteY12" fmla="*/ 119653 h 138198"/>
              <a:gd name="connsiteX13" fmla="*/ 71807 w 140386"/>
              <a:gd name="connsiteY13" fmla="*/ 106635 h 138198"/>
              <a:gd name="connsiteX14" fmla="*/ 97399 w 140386"/>
              <a:gd name="connsiteY14" fmla="*/ 91094 h 138198"/>
              <a:gd name="connsiteX15" fmla="*/ 126256 w 140386"/>
              <a:gd name="connsiteY15" fmla="*/ 119950 h 138198"/>
              <a:gd name="connsiteX16" fmla="*/ 126256 w 140386"/>
              <a:gd name="connsiteY16" fmla="*/ 126960 h 1381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40386" h="138198">
                <a:moveTo>
                  <a:pt x="126181" y="126923"/>
                </a:moveTo>
                <a:lnTo>
                  <a:pt x="140387" y="126923"/>
                </a:lnTo>
                <a:lnTo>
                  <a:pt x="140387" y="119913"/>
                </a:lnTo>
                <a:cubicBezTo>
                  <a:pt x="140387" y="96175"/>
                  <a:pt x="121063" y="76888"/>
                  <a:pt x="97362" y="76888"/>
                </a:cubicBezTo>
                <a:cubicBezTo>
                  <a:pt x="81265" y="76888"/>
                  <a:pt x="66614" y="85753"/>
                  <a:pt x="59196" y="100070"/>
                </a:cubicBezTo>
                <a:lnTo>
                  <a:pt x="52409" y="113088"/>
                </a:lnTo>
                <a:cubicBezTo>
                  <a:pt x="48922" y="119802"/>
                  <a:pt x="42023" y="123993"/>
                  <a:pt x="34457" y="123993"/>
                </a:cubicBezTo>
                <a:cubicBezTo>
                  <a:pt x="23293" y="123993"/>
                  <a:pt x="14206" y="114906"/>
                  <a:pt x="14206" y="103742"/>
                </a:cubicBezTo>
                <a:lnTo>
                  <a:pt x="14206" y="0"/>
                </a:lnTo>
                <a:lnTo>
                  <a:pt x="0" y="0"/>
                </a:lnTo>
                <a:lnTo>
                  <a:pt x="0" y="103742"/>
                </a:lnTo>
                <a:cubicBezTo>
                  <a:pt x="0" y="122732"/>
                  <a:pt x="15467" y="138199"/>
                  <a:pt x="34457" y="138199"/>
                </a:cubicBezTo>
                <a:cubicBezTo>
                  <a:pt x="47364" y="138199"/>
                  <a:pt x="59048" y="131077"/>
                  <a:pt x="65019" y="119653"/>
                </a:cubicBezTo>
                <a:lnTo>
                  <a:pt x="71807" y="106635"/>
                </a:lnTo>
                <a:cubicBezTo>
                  <a:pt x="76777" y="97066"/>
                  <a:pt x="86606" y="91094"/>
                  <a:pt x="97399" y="91094"/>
                </a:cubicBezTo>
                <a:cubicBezTo>
                  <a:pt x="113311" y="91094"/>
                  <a:pt x="126256" y="104039"/>
                  <a:pt x="126256" y="119950"/>
                </a:cubicBezTo>
                <a:lnTo>
                  <a:pt x="126256" y="126960"/>
                </a:lnTo>
                <a:close/>
              </a:path>
            </a:pathLst>
          </a:custGeom>
          <a:solidFill>
            <a:srgbClr val="FC6538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279C05A5-318C-A7D5-FB57-FA2B3C730446}"/>
              </a:ext>
            </a:extLst>
          </p:cNvPr>
          <p:cNvGrpSpPr/>
          <p:nvPr/>
        </p:nvGrpSpPr>
        <p:grpSpPr>
          <a:xfrm>
            <a:off x="151786" y="5112345"/>
            <a:ext cx="1390687" cy="1046837"/>
            <a:chOff x="151786" y="4813431"/>
            <a:chExt cx="1390687" cy="1046837"/>
          </a:xfrm>
        </p:grpSpPr>
        <p:sp>
          <p:nvSpPr>
            <p:cNvPr id="202" name="Freihandform: Form 201">
              <a:extLst>
                <a:ext uri="{FF2B5EF4-FFF2-40B4-BE49-F238E27FC236}">
                  <a16:creationId xmlns:a16="http://schemas.microsoft.com/office/drawing/2014/main" id="{26A98CD3-36B1-6AF3-A7D2-FF3D9A689965}"/>
                </a:ext>
              </a:extLst>
            </p:cNvPr>
            <p:cNvSpPr/>
            <p:nvPr/>
          </p:nvSpPr>
          <p:spPr>
            <a:xfrm>
              <a:off x="785282" y="4813431"/>
              <a:ext cx="757191" cy="1046837"/>
            </a:xfrm>
            <a:custGeom>
              <a:avLst/>
              <a:gdLst>
                <a:gd name="connsiteX0" fmla="*/ 59530 w 192758"/>
                <a:gd name="connsiteY0" fmla="*/ 155557 h 266493"/>
                <a:gd name="connsiteX1" fmla="*/ 81821 w 192758"/>
                <a:gd name="connsiteY1" fmla="*/ 133265 h 266493"/>
                <a:gd name="connsiteX2" fmla="*/ 59530 w 192758"/>
                <a:gd name="connsiteY2" fmla="*/ 110974 h 266493"/>
                <a:gd name="connsiteX3" fmla="*/ 37239 w 192758"/>
                <a:gd name="connsiteY3" fmla="*/ 133265 h 266493"/>
                <a:gd name="connsiteX4" fmla="*/ 59530 w 192758"/>
                <a:gd name="connsiteY4" fmla="*/ 155557 h 266493"/>
                <a:gd name="connsiteX5" fmla="*/ 59530 w 192758"/>
                <a:gd name="connsiteY5" fmla="*/ 0 h 266493"/>
                <a:gd name="connsiteX6" fmla="*/ 192759 w 192758"/>
                <a:gd name="connsiteY6" fmla="*/ 133265 h 266493"/>
                <a:gd name="connsiteX7" fmla="*/ 59530 w 192758"/>
                <a:gd name="connsiteY7" fmla="*/ 266494 h 266493"/>
                <a:gd name="connsiteX8" fmla="*/ 0 w 192758"/>
                <a:gd name="connsiteY8" fmla="*/ 252474 h 266493"/>
                <a:gd name="connsiteX9" fmla="*/ 0 w 192758"/>
                <a:gd name="connsiteY9" fmla="*/ 14020 h 266493"/>
                <a:gd name="connsiteX10" fmla="*/ 59530 w 192758"/>
                <a:gd name="connsiteY10" fmla="*/ 0 h 266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2758" h="266493">
                  <a:moveTo>
                    <a:pt x="59530" y="155557"/>
                  </a:moveTo>
                  <a:cubicBezTo>
                    <a:pt x="71844" y="155557"/>
                    <a:pt x="81821" y="145580"/>
                    <a:pt x="81821" y="133265"/>
                  </a:cubicBezTo>
                  <a:cubicBezTo>
                    <a:pt x="81821" y="120951"/>
                    <a:pt x="71844" y="110974"/>
                    <a:pt x="59530" y="110974"/>
                  </a:cubicBezTo>
                  <a:cubicBezTo>
                    <a:pt x="47216" y="110974"/>
                    <a:pt x="37239" y="120951"/>
                    <a:pt x="37239" y="133265"/>
                  </a:cubicBezTo>
                  <a:cubicBezTo>
                    <a:pt x="37239" y="145580"/>
                    <a:pt x="47216" y="155557"/>
                    <a:pt x="59530" y="155557"/>
                  </a:cubicBezTo>
                  <a:moveTo>
                    <a:pt x="59530" y="0"/>
                  </a:moveTo>
                  <a:cubicBezTo>
                    <a:pt x="133117" y="0"/>
                    <a:pt x="192759" y="59641"/>
                    <a:pt x="192759" y="133265"/>
                  </a:cubicBezTo>
                  <a:cubicBezTo>
                    <a:pt x="192759" y="206890"/>
                    <a:pt x="133117" y="266494"/>
                    <a:pt x="59530" y="266494"/>
                  </a:cubicBezTo>
                  <a:cubicBezTo>
                    <a:pt x="38129" y="266494"/>
                    <a:pt x="17915" y="261450"/>
                    <a:pt x="0" y="252474"/>
                  </a:cubicBezTo>
                  <a:lnTo>
                    <a:pt x="0" y="14020"/>
                  </a:lnTo>
                  <a:cubicBezTo>
                    <a:pt x="17915" y="5044"/>
                    <a:pt x="38129" y="0"/>
                    <a:pt x="59530" y="0"/>
                  </a:cubicBezTo>
                </a:path>
              </a:pathLst>
            </a:custGeom>
            <a:solidFill>
              <a:srgbClr val="00348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4" name="Freihandform: Form 203">
              <a:extLst>
                <a:ext uri="{FF2B5EF4-FFF2-40B4-BE49-F238E27FC236}">
                  <a16:creationId xmlns:a16="http://schemas.microsoft.com/office/drawing/2014/main" id="{4028F3E3-6927-788B-E078-5B243892CFEB}"/>
                </a:ext>
              </a:extLst>
            </p:cNvPr>
            <p:cNvSpPr/>
            <p:nvPr/>
          </p:nvSpPr>
          <p:spPr>
            <a:xfrm>
              <a:off x="976291" y="4875061"/>
              <a:ext cx="480363" cy="923433"/>
            </a:xfrm>
            <a:custGeom>
              <a:avLst/>
              <a:gdLst>
                <a:gd name="connsiteX0" fmla="*/ 0 w 122286"/>
                <a:gd name="connsiteY0" fmla="*/ 224842 h 235078"/>
                <a:gd name="connsiteX1" fmla="*/ 4748 w 122286"/>
                <a:gd name="connsiteY1" fmla="*/ 224953 h 235078"/>
                <a:gd name="connsiteX2" fmla="*/ 112161 w 122286"/>
                <a:gd name="connsiteY2" fmla="*/ 117539 h 235078"/>
                <a:gd name="connsiteX3" fmla="*/ 4748 w 122286"/>
                <a:gd name="connsiteY3" fmla="*/ 10126 h 235078"/>
                <a:gd name="connsiteX4" fmla="*/ 0 w 122286"/>
                <a:gd name="connsiteY4" fmla="*/ 10237 h 235078"/>
                <a:gd name="connsiteX5" fmla="*/ 0 w 122286"/>
                <a:gd name="connsiteY5" fmla="*/ 111 h 235078"/>
                <a:gd name="connsiteX6" fmla="*/ 4748 w 122286"/>
                <a:gd name="connsiteY6" fmla="*/ 0 h 235078"/>
                <a:gd name="connsiteX7" fmla="*/ 122287 w 122286"/>
                <a:gd name="connsiteY7" fmla="*/ 117539 h 235078"/>
                <a:gd name="connsiteX8" fmla="*/ 4748 w 122286"/>
                <a:gd name="connsiteY8" fmla="*/ 235078 h 235078"/>
                <a:gd name="connsiteX9" fmla="*/ 0 w 122286"/>
                <a:gd name="connsiteY9" fmla="*/ 234967 h 235078"/>
                <a:gd name="connsiteX10" fmla="*/ 0 w 122286"/>
                <a:gd name="connsiteY10" fmla="*/ 224842 h 235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2286" h="235078">
                  <a:moveTo>
                    <a:pt x="0" y="224842"/>
                  </a:moveTo>
                  <a:cubicBezTo>
                    <a:pt x="1558" y="224916"/>
                    <a:pt x="3153" y="224953"/>
                    <a:pt x="4748" y="224953"/>
                  </a:cubicBezTo>
                  <a:cubicBezTo>
                    <a:pt x="63981" y="224953"/>
                    <a:pt x="112161" y="176773"/>
                    <a:pt x="112161" y="117539"/>
                  </a:cubicBezTo>
                  <a:cubicBezTo>
                    <a:pt x="112161" y="58306"/>
                    <a:pt x="63981" y="10126"/>
                    <a:pt x="4748" y="10126"/>
                  </a:cubicBezTo>
                  <a:cubicBezTo>
                    <a:pt x="3153" y="10126"/>
                    <a:pt x="1558" y="10163"/>
                    <a:pt x="0" y="10237"/>
                  </a:cubicBezTo>
                  <a:lnTo>
                    <a:pt x="0" y="111"/>
                  </a:lnTo>
                  <a:cubicBezTo>
                    <a:pt x="1558" y="37"/>
                    <a:pt x="3153" y="0"/>
                    <a:pt x="4748" y="0"/>
                  </a:cubicBezTo>
                  <a:cubicBezTo>
                    <a:pt x="69544" y="0"/>
                    <a:pt x="122287" y="52705"/>
                    <a:pt x="122287" y="117539"/>
                  </a:cubicBezTo>
                  <a:cubicBezTo>
                    <a:pt x="122287" y="182373"/>
                    <a:pt x="69581" y="235078"/>
                    <a:pt x="4748" y="235078"/>
                  </a:cubicBezTo>
                  <a:cubicBezTo>
                    <a:pt x="3153" y="235078"/>
                    <a:pt x="1558" y="235041"/>
                    <a:pt x="0" y="234967"/>
                  </a:cubicBezTo>
                  <a:lnTo>
                    <a:pt x="0" y="224842"/>
                  </a:lnTo>
                  <a:close/>
                </a:path>
              </a:pathLst>
            </a:custGeom>
            <a:solidFill>
              <a:srgbClr val="FC6538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5" name="Freihandform: Form 204">
              <a:extLst>
                <a:ext uri="{FF2B5EF4-FFF2-40B4-BE49-F238E27FC236}">
                  <a16:creationId xmlns:a16="http://schemas.microsoft.com/office/drawing/2014/main" id="{B042D4A4-11DB-40E4-DCD7-470406837E3B}"/>
                </a:ext>
              </a:extLst>
            </p:cNvPr>
            <p:cNvSpPr/>
            <p:nvPr/>
          </p:nvSpPr>
          <p:spPr>
            <a:xfrm>
              <a:off x="936514" y="4875061"/>
              <a:ext cx="480363" cy="923433"/>
            </a:xfrm>
            <a:custGeom>
              <a:avLst/>
              <a:gdLst>
                <a:gd name="connsiteX0" fmla="*/ 0 w 122286"/>
                <a:gd name="connsiteY0" fmla="*/ 224842 h 235078"/>
                <a:gd name="connsiteX1" fmla="*/ 4748 w 122286"/>
                <a:gd name="connsiteY1" fmla="*/ 224953 h 235078"/>
                <a:gd name="connsiteX2" fmla="*/ 112161 w 122286"/>
                <a:gd name="connsiteY2" fmla="*/ 117539 h 235078"/>
                <a:gd name="connsiteX3" fmla="*/ 4748 w 122286"/>
                <a:gd name="connsiteY3" fmla="*/ 10126 h 235078"/>
                <a:gd name="connsiteX4" fmla="*/ 0 w 122286"/>
                <a:gd name="connsiteY4" fmla="*/ 10237 h 235078"/>
                <a:gd name="connsiteX5" fmla="*/ 0 w 122286"/>
                <a:gd name="connsiteY5" fmla="*/ 111 h 235078"/>
                <a:gd name="connsiteX6" fmla="*/ 4748 w 122286"/>
                <a:gd name="connsiteY6" fmla="*/ 0 h 235078"/>
                <a:gd name="connsiteX7" fmla="*/ 122287 w 122286"/>
                <a:gd name="connsiteY7" fmla="*/ 117539 h 235078"/>
                <a:gd name="connsiteX8" fmla="*/ 4748 w 122286"/>
                <a:gd name="connsiteY8" fmla="*/ 235078 h 235078"/>
                <a:gd name="connsiteX9" fmla="*/ 0 w 122286"/>
                <a:gd name="connsiteY9" fmla="*/ 234967 h 235078"/>
                <a:gd name="connsiteX10" fmla="*/ 0 w 122286"/>
                <a:gd name="connsiteY10" fmla="*/ 224842 h 235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2286" h="235078">
                  <a:moveTo>
                    <a:pt x="0" y="224842"/>
                  </a:moveTo>
                  <a:cubicBezTo>
                    <a:pt x="1558" y="224916"/>
                    <a:pt x="3153" y="224953"/>
                    <a:pt x="4748" y="224953"/>
                  </a:cubicBezTo>
                  <a:cubicBezTo>
                    <a:pt x="63981" y="224953"/>
                    <a:pt x="112161" y="176773"/>
                    <a:pt x="112161" y="117539"/>
                  </a:cubicBezTo>
                  <a:cubicBezTo>
                    <a:pt x="112161" y="58306"/>
                    <a:pt x="63981" y="10126"/>
                    <a:pt x="4748" y="10126"/>
                  </a:cubicBezTo>
                  <a:cubicBezTo>
                    <a:pt x="3153" y="10126"/>
                    <a:pt x="1558" y="10163"/>
                    <a:pt x="0" y="10237"/>
                  </a:cubicBezTo>
                  <a:lnTo>
                    <a:pt x="0" y="111"/>
                  </a:lnTo>
                  <a:cubicBezTo>
                    <a:pt x="1558" y="37"/>
                    <a:pt x="3153" y="0"/>
                    <a:pt x="4748" y="0"/>
                  </a:cubicBezTo>
                  <a:cubicBezTo>
                    <a:pt x="69544" y="0"/>
                    <a:pt x="122287" y="52705"/>
                    <a:pt x="122287" y="117539"/>
                  </a:cubicBezTo>
                  <a:cubicBezTo>
                    <a:pt x="122287" y="182373"/>
                    <a:pt x="69581" y="235078"/>
                    <a:pt x="4748" y="235078"/>
                  </a:cubicBezTo>
                  <a:cubicBezTo>
                    <a:pt x="3153" y="235078"/>
                    <a:pt x="1558" y="235041"/>
                    <a:pt x="0" y="234967"/>
                  </a:cubicBezTo>
                  <a:lnTo>
                    <a:pt x="0" y="224842"/>
                  </a:lnTo>
                  <a:close/>
                </a:path>
              </a:pathLst>
            </a:custGeom>
            <a:solidFill>
              <a:srgbClr val="FE7E58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6" name="Freihandform: Form 205">
              <a:extLst>
                <a:ext uri="{FF2B5EF4-FFF2-40B4-BE49-F238E27FC236}">
                  <a16:creationId xmlns:a16="http://schemas.microsoft.com/office/drawing/2014/main" id="{8E0A01C1-EFDD-96C4-BA30-119A49DE0083}"/>
                </a:ext>
              </a:extLst>
            </p:cNvPr>
            <p:cNvSpPr/>
            <p:nvPr/>
          </p:nvSpPr>
          <p:spPr>
            <a:xfrm>
              <a:off x="896596" y="4875061"/>
              <a:ext cx="480363" cy="923433"/>
            </a:xfrm>
            <a:custGeom>
              <a:avLst/>
              <a:gdLst>
                <a:gd name="connsiteX0" fmla="*/ 0 w 122286"/>
                <a:gd name="connsiteY0" fmla="*/ 224842 h 235078"/>
                <a:gd name="connsiteX1" fmla="*/ 4748 w 122286"/>
                <a:gd name="connsiteY1" fmla="*/ 224953 h 235078"/>
                <a:gd name="connsiteX2" fmla="*/ 112161 w 122286"/>
                <a:gd name="connsiteY2" fmla="*/ 117539 h 235078"/>
                <a:gd name="connsiteX3" fmla="*/ 4748 w 122286"/>
                <a:gd name="connsiteY3" fmla="*/ 10126 h 235078"/>
                <a:gd name="connsiteX4" fmla="*/ 0 w 122286"/>
                <a:gd name="connsiteY4" fmla="*/ 10237 h 235078"/>
                <a:gd name="connsiteX5" fmla="*/ 0 w 122286"/>
                <a:gd name="connsiteY5" fmla="*/ 111 h 235078"/>
                <a:gd name="connsiteX6" fmla="*/ 4748 w 122286"/>
                <a:gd name="connsiteY6" fmla="*/ 0 h 235078"/>
                <a:gd name="connsiteX7" fmla="*/ 122287 w 122286"/>
                <a:gd name="connsiteY7" fmla="*/ 117539 h 235078"/>
                <a:gd name="connsiteX8" fmla="*/ 4748 w 122286"/>
                <a:gd name="connsiteY8" fmla="*/ 235078 h 235078"/>
                <a:gd name="connsiteX9" fmla="*/ 0 w 122286"/>
                <a:gd name="connsiteY9" fmla="*/ 234967 h 235078"/>
                <a:gd name="connsiteX10" fmla="*/ 0 w 122286"/>
                <a:gd name="connsiteY10" fmla="*/ 224842 h 235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2286" h="235078">
                  <a:moveTo>
                    <a:pt x="0" y="224842"/>
                  </a:moveTo>
                  <a:cubicBezTo>
                    <a:pt x="1558" y="224916"/>
                    <a:pt x="3153" y="224953"/>
                    <a:pt x="4748" y="224953"/>
                  </a:cubicBezTo>
                  <a:cubicBezTo>
                    <a:pt x="63981" y="224953"/>
                    <a:pt x="112161" y="176773"/>
                    <a:pt x="112161" y="117539"/>
                  </a:cubicBezTo>
                  <a:cubicBezTo>
                    <a:pt x="112161" y="58306"/>
                    <a:pt x="63981" y="10126"/>
                    <a:pt x="4748" y="10126"/>
                  </a:cubicBezTo>
                  <a:cubicBezTo>
                    <a:pt x="3153" y="10126"/>
                    <a:pt x="1595" y="10163"/>
                    <a:pt x="0" y="10237"/>
                  </a:cubicBezTo>
                  <a:lnTo>
                    <a:pt x="0" y="111"/>
                  </a:lnTo>
                  <a:cubicBezTo>
                    <a:pt x="1558" y="37"/>
                    <a:pt x="3153" y="0"/>
                    <a:pt x="4748" y="0"/>
                  </a:cubicBezTo>
                  <a:cubicBezTo>
                    <a:pt x="69544" y="0"/>
                    <a:pt x="122287" y="52705"/>
                    <a:pt x="122287" y="117539"/>
                  </a:cubicBezTo>
                  <a:cubicBezTo>
                    <a:pt x="122287" y="182373"/>
                    <a:pt x="69581" y="235078"/>
                    <a:pt x="4748" y="235078"/>
                  </a:cubicBezTo>
                  <a:cubicBezTo>
                    <a:pt x="3153" y="235078"/>
                    <a:pt x="1595" y="235041"/>
                    <a:pt x="0" y="234967"/>
                  </a:cubicBezTo>
                  <a:lnTo>
                    <a:pt x="0" y="224842"/>
                  </a:lnTo>
                  <a:close/>
                </a:path>
              </a:pathLst>
            </a:custGeom>
            <a:solidFill>
              <a:srgbClr val="FC6538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7" name="Freihandform: Form 206">
              <a:extLst>
                <a:ext uri="{FF2B5EF4-FFF2-40B4-BE49-F238E27FC236}">
                  <a16:creationId xmlns:a16="http://schemas.microsoft.com/office/drawing/2014/main" id="{6959F303-1616-9B83-7095-5CAD485B08EB}"/>
                </a:ext>
              </a:extLst>
            </p:cNvPr>
            <p:cNvSpPr/>
            <p:nvPr/>
          </p:nvSpPr>
          <p:spPr>
            <a:xfrm>
              <a:off x="856819" y="4875061"/>
              <a:ext cx="480363" cy="923433"/>
            </a:xfrm>
            <a:custGeom>
              <a:avLst/>
              <a:gdLst>
                <a:gd name="connsiteX0" fmla="*/ 0 w 122286"/>
                <a:gd name="connsiteY0" fmla="*/ 224842 h 235078"/>
                <a:gd name="connsiteX1" fmla="*/ 4747 w 122286"/>
                <a:gd name="connsiteY1" fmla="*/ 224953 h 235078"/>
                <a:gd name="connsiteX2" fmla="*/ 112161 w 122286"/>
                <a:gd name="connsiteY2" fmla="*/ 117539 h 235078"/>
                <a:gd name="connsiteX3" fmla="*/ 4747 w 122286"/>
                <a:gd name="connsiteY3" fmla="*/ 10126 h 235078"/>
                <a:gd name="connsiteX4" fmla="*/ 0 w 122286"/>
                <a:gd name="connsiteY4" fmla="*/ 10237 h 235078"/>
                <a:gd name="connsiteX5" fmla="*/ 0 w 122286"/>
                <a:gd name="connsiteY5" fmla="*/ 111 h 235078"/>
                <a:gd name="connsiteX6" fmla="*/ 4747 w 122286"/>
                <a:gd name="connsiteY6" fmla="*/ 0 h 235078"/>
                <a:gd name="connsiteX7" fmla="*/ 122287 w 122286"/>
                <a:gd name="connsiteY7" fmla="*/ 117539 h 235078"/>
                <a:gd name="connsiteX8" fmla="*/ 4747 w 122286"/>
                <a:gd name="connsiteY8" fmla="*/ 235078 h 235078"/>
                <a:gd name="connsiteX9" fmla="*/ 0 w 122286"/>
                <a:gd name="connsiteY9" fmla="*/ 234967 h 235078"/>
                <a:gd name="connsiteX10" fmla="*/ 0 w 122286"/>
                <a:gd name="connsiteY10" fmla="*/ 224842 h 235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2286" h="235078">
                  <a:moveTo>
                    <a:pt x="0" y="224842"/>
                  </a:moveTo>
                  <a:cubicBezTo>
                    <a:pt x="1558" y="224916"/>
                    <a:pt x="3153" y="224953"/>
                    <a:pt x="4747" y="224953"/>
                  </a:cubicBezTo>
                  <a:cubicBezTo>
                    <a:pt x="63981" y="224953"/>
                    <a:pt x="112161" y="176773"/>
                    <a:pt x="112161" y="117539"/>
                  </a:cubicBezTo>
                  <a:cubicBezTo>
                    <a:pt x="112161" y="58306"/>
                    <a:pt x="63981" y="10126"/>
                    <a:pt x="4747" y="10126"/>
                  </a:cubicBezTo>
                  <a:cubicBezTo>
                    <a:pt x="3153" y="10126"/>
                    <a:pt x="1558" y="10163"/>
                    <a:pt x="0" y="10237"/>
                  </a:cubicBezTo>
                  <a:lnTo>
                    <a:pt x="0" y="111"/>
                  </a:lnTo>
                  <a:cubicBezTo>
                    <a:pt x="1558" y="37"/>
                    <a:pt x="3153" y="0"/>
                    <a:pt x="4747" y="0"/>
                  </a:cubicBezTo>
                  <a:cubicBezTo>
                    <a:pt x="69544" y="0"/>
                    <a:pt x="122287" y="52705"/>
                    <a:pt x="122287" y="117539"/>
                  </a:cubicBezTo>
                  <a:cubicBezTo>
                    <a:pt x="122287" y="182373"/>
                    <a:pt x="69581" y="235078"/>
                    <a:pt x="4747" y="235078"/>
                  </a:cubicBezTo>
                  <a:cubicBezTo>
                    <a:pt x="3153" y="235078"/>
                    <a:pt x="1595" y="235041"/>
                    <a:pt x="0" y="234967"/>
                  </a:cubicBezTo>
                  <a:lnTo>
                    <a:pt x="0" y="224842"/>
                  </a:lnTo>
                  <a:close/>
                </a:path>
              </a:pathLst>
            </a:custGeom>
            <a:solidFill>
              <a:srgbClr val="FE7E58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8" name="Freihandform: Form 207">
              <a:extLst>
                <a:ext uri="{FF2B5EF4-FFF2-40B4-BE49-F238E27FC236}">
                  <a16:creationId xmlns:a16="http://schemas.microsoft.com/office/drawing/2014/main" id="{C388FEE2-6A86-DFA9-6004-384004A56D62}"/>
                </a:ext>
              </a:extLst>
            </p:cNvPr>
            <p:cNvSpPr/>
            <p:nvPr/>
          </p:nvSpPr>
          <p:spPr>
            <a:xfrm>
              <a:off x="816896" y="4875061"/>
              <a:ext cx="480363" cy="923433"/>
            </a:xfrm>
            <a:custGeom>
              <a:avLst/>
              <a:gdLst>
                <a:gd name="connsiteX0" fmla="*/ 0 w 122286"/>
                <a:gd name="connsiteY0" fmla="*/ 224842 h 235078"/>
                <a:gd name="connsiteX1" fmla="*/ 4747 w 122286"/>
                <a:gd name="connsiteY1" fmla="*/ 224953 h 235078"/>
                <a:gd name="connsiteX2" fmla="*/ 112161 w 122286"/>
                <a:gd name="connsiteY2" fmla="*/ 117539 h 235078"/>
                <a:gd name="connsiteX3" fmla="*/ 4747 w 122286"/>
                <a:gd name="connsiteY3" fmla="*/ 10126 h 235078"/>
                <a:gd name="connsiteX4" fmla="*/ 0 w 122286"/>
                <a:gd name="connsiteY4" fmla="*/ 10237 h 235078"/>
                <a:gd name="connsiteX5" fmla="*/ 0 w 122286"/>
                <a:gd name="connsiteY5" fmla="*/ 111 h 235078"/>
                <a:gd name="connsiteX6" fmla="*/ 4747 w 122286"/>
                <a:gd name="connsiteY6" fmla="*/ 0 h 235078"/>
                <a:gd name="connsiteX7" fmla="*/ 122287 w 122286"/>
                <a:gd name="connsiteY7" fmla="*/ 117539 h 235078"/>
                <a:gd name="connsiteX8" fmla="*/ 4747 w 122286"/>
                <a:gd name="connsiteY8" fmla="*/ 235078 h 235078"/>
                <a:gd name="connsiteX9" fmla="*/ 0 w 122286"/>
                <a:gd name="connsiteY9" fmla="*/ 234967 h 235078"/>
                <a:gd name="connsiteX10" fmla="*/ 0 w 122286"/>
                <a:gd name="connsiteY10" fmla="*/ 224842 h 235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2286" h="235078">
                  <a:moveTo>
                    <a:pt x="0" y="224842"/>
                  </a:moveTo>
                  <a:cubicBezTo>
                    <a:pt x="1558" y="224916"/>
                    <a:pt x="3153" y="224953"/>
                    <a:pt x="4747" y="224953"/>
                  </a:cubicBezTo>
                  <a:cubicBezTo>
                    <a:pt x="63981" y="224953"/>
                    <a:pt x="112161" y="176773"/>
                    <a:pt x="112161" y="117539"/>
                  </a:cubicBezTo>
                  <a:cubicBezTo>
                    <a:pt x="112161" y="58306"/>
                    <a:pt x="63981" y="10126"/>
                    <a:pt x="4747" y="10126"/>
                  </a:cubicBezTo>
                  <a:cubicBezTo>
                    <a:pt x="3153" y="10126"/>
                    <a:pt x="1558" y="10163"/>
                    <a:pt x="0" y="10237"/>
                  </a:cubicBezTo>
                  <a:lnTo>
                    <a:pt x="0" y="111"/>
                  </a:lnTo>
                  <a:cubicBezTo>
                    <a:pt x="1558" y="37"/>
                    <a:pt x="3153" y="0"/>
                    <a:pt x="4747" y="0"/>
                  </a:cubicBezTo>
                  <a:cubicBezTo>
                    <a:pt x="69544" y="0"/>
                    <a:pt x="122287" y="52705"/>
                    <a:pt x="122287" y="117539"/>
                  </a:cubicBezTo>
                  <a:cubicBezTo>
                    <a:pt x="122287" y="182373"/>
                    <a:pt x="69581" y="235078"/>
                    <a:pt x="4747" y="235078"/>
                  </a:cubicBezTo>
                  <a:cubicBezTo>
                    <a:pt x="3153" y="235078"/>
                    <a:pt x="1595" y="235041"/>
                    <a:pt x="0" y="234967"/>
                  </a:cubicBezTo>
                  <a:lnTo>
                    <a:pt x="0" y="224842"/>
                  </a:lnTo>
                  <a:close/>
                </a:path>
              </a:pathLst>
            </a:custGeom>
            <a:solidFill>
              <a:srgbClr val="FC6538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09" name="Freihandform: Form 208">
              <a:extLst>
                <a:ext uri="{FF2B5EF4-FFF2-40B4-BE49-F238E27FC236}">
                  <a16:creationId xmlns:a16="http://schemas.microsoft.com/office/drawing/2014/main" id="{8B1EBCF7-47C4-BA2D-FECB-F9592978C84F}"/>
                </a:ext>
              </a:extLst>
            </p:cNvPr>
            <p:cNvSpPr/>
            <p:nvPr/>
          </p:nvSpPr>
          <p:spPr>
            <a:xfrm>
              <a:off x="777123" y="4875061"/>
              <a:ext cx="480363" cy="923433"/>
            </a:xfrm>
            <a:custGeom>
              <a:avLst/>
              <a:gdLst>
                <a:gd name="connsiteX0" fmla="*/ 0 w 122286"/>
                <a:gd name="connsiteY0" fmla="*/ 224842 h 235078"/>
                <a:gd name="connsiteX1" fmla="*/ 4748 w 122286"/>
                <a:gd name="connsiteY1" fmla="*/ 224953 h 235078"/>
                <a:gd name="connsiteX2" fmla="*/ 112161 w 122286"/>
                <a:gd name="connsiteY2" fmla="*/ 117539 h 235078"/>
                <a:gd name="connsiteX3" fmla="*/ 4748 w 122286"/>
                <a:gd name="connsiteY3" fmla="*/ 10126 h 235078"/>
                <a:gd name="connsiteX4" fmla="*/ 0 w 122286"/>
                <a:gd name="connsiteY4" fmla="*/ 10237 h 235078"/>
                <a:gd name="connsiteX5" fmla="*/ 0 w 122286"/>
                <a:gd name="connsiteY5" fmla="*/ 111 h 235078"/>
                <a:gd name="connsiteX6" fmla="*/ 4748 w 122286"/>
                <a:gd name="connsiteY6" fmla="*/ 0 h 235078"/>
                <a:gd name="connsiteX7" fmla="*/ 122287 w 122286"/>
                <a:gd name="connsiteY7" fmla="*/ 117539 h 235078"/>
                <a:gd name="connsiteX8" fmla="*/ 4748 w 122286"/>
                <a:gd name="connsiteY8" fmla="*/ 235078 h 235078"/>
                <a:gd name="connsiteX9" fmla="*/ 0 w 122286"/>
                <a:gd name="connsiteY9" fmla="*/ 234967 h 235078"/>
                <a:gd name="connsiteX10" fmla="*/ 0 w 122286"/>
                <a:gd name="connsiteY10" fmla="*/ 224842 h 235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2286" h="235078">
                  <a:moveTo>
                    <a:pt x="0" y="224842"/>
                  </a:moveTo>
                  <a:cubicBezTo>
                    <a:pt x="1558" y="224916"/>
                    <a:pt x="3153" y="224953"/>
                    <a:pt x="4748" y="224953"/>
                  </a:cubicBezTo>
                  <a:cubicBezTo>
                    <a:pt x="63981" y="224953"/>
                    <a:pt x="112161" y="176773"/>
                    <a:pt x="112161" y="117539"/>
                  </a:cubicBezTo>
                  <a:cubicBezTo>
                    <a:pt x="112161" y="58306"/>
                    <a:pt x="63981" y="10126"/>
                    <a:pt x="4748" y="10126"/>
                  </a:cubicBezTo>
                  <a:cubicBezTo>
                    <a:pt x="3153" y="10126"/>
                    <a:pt x="1595" y="10163"/>
                    <a:pt x="0" y="10237"/>
                  </a:cubicBezTo>
                  <a:lnTo>
                    <a:pt x="0" y="111"/>
                  </a:lnTo>
                  <a:cubicBezTo>
                    <a:pt x="1558" y="37"/>
                    <a:pt x="3153" y="0"/>
                    <a:pt x="4748" y="0"/>
                  </a:cubicBezTo>
                  <a:cubicBezTo>
                    <a:pt x="69544" y="0"/>
                    <a:pt x="122287" y="52705"/>
                    <a:pt x="122287" y="117539"/>
                  </a:cubicBezTo>
                  <a:cubicBezTo>
                    <a:pt x="122287" y="182373"/>
                    <a:pt x="69581" y="235078"/>
                    <a:pt x="4748" y="235078"/>
                  </a:cubicBezTo>
                  <a:cubicBezTo>
                    <a:pt x="3153" y="235078"/>
                    <a:pt x="1595" y="235041"/>
                    <a:pt x="0" y="234967"/>
                  </a:cubicBezTo>
                  <a:lnTo>
                    <a:pt x="0" y="224842"/>
                  </a:lnTo>
                  <a:close/>
                </a:path>
              </a:pathLst>
            </a:custGeom>
            <a:solidFill>
              <a:srgbClr val="FE7E58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0" name="Freihandform: Form 209">
              <a:extLst>
                <a:ext uri="{FF2B5EF4-FFF2-40B4-BE49-F238E27FC236}">
                  <a16:creationId xmlns:a16="http://schemas.microsoft.com/office/drawing/2014/main" id="{99C95259-23B3-5D3A-3A97-C2DB10B2EBAF}"/>
                </a:ext>
              </a:extLst>
            </p:cNvPr>
            <p:cNvSpPr/>
            <p:nvPr/>
          </p:nvSpPr>
          <p:spPr>
            <a:xfrm>
              <a:off x="737201" y="4875061"/>
              <a:ext cx="480363" cy="923433"/>
            </a:xfrm>
            <a:custGeom>
              <a:avLst/>
              <a:gdLst>
                <a:gd name="connsiteX0" fmla="*/ 0 w 122286"/>
                <a:gd name="connsiteY0" fmla="*/ 224842 h 235078"/>
                <a:gd name="connsiteX1" fmla="*/ 4748 w 122286"/>
                <a:gd name="connsiteY1" fmla="*/ 224953 h 235078"/>
                <a:gd name="connsiteX2" fmla="*/ 112161 w 122286"/>
                <a:gd name="connsiteY2" fmla="*/ 117539 h 235078"/>
                <a:gd name="connsiteX3" fmla="*/ 4748 w 122286"/>
                <a:gd name="connsiteY3" fmla="*/ 10126 h 235078"/>
                <a:gd name="connsiteX4" fmla="*/ 0 w 122286"/>
                <a:gd name="connsiteY4" fmla="*/ 10237 h 235078"/>
                <a:gd name="connsiteX5" fmla="*/ 0 w 122286"/>
                <a:gd name="connsiteY5" fmla="*/ 111 h 235078"/>
                <a:gd name="connsiteX6" fmla="*/ 4748 w 122286"/>
                <a:gd name="connsiteY6" fmla="*/ 0 h 235078"/>
                <a:gd name="connsiteX7" fmla="*/ 122287 w 122286"/>
                <a:gd name="connsiteY7" fmla="*/ 117539 h 235078"/>
                <a:gd name="connsiteX8" fmla="*/ 4748 w 122286"/>
                <a:gd name="connsiteY8" fmla="*/ 235078 h 235078"/>
                <a:gd name="connsiteX9" fmla="*/ 0 w 122286"/>
                <a:gd name="connsiteY9" fmla="*/ 234967 h 235078"/>
                <a:gd name="connsiteX10" fmla="*/ 0 w 122286"/>
                <a:gd name="connsiteY10" fmla="*/ 224842 h 235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2286" h="235078">
                  <a:moveTo>
                    <a:pt x="0" y="224842"/>
                  </a:moveTo>
                  <a:cubicBezTo>
                    <a:pt x="1558" y="224916"/>
                    <a:pt x="3153" y="224953"/>
                    <a:pt x="4748" y="224953"/>
                  </a:cubicBezTo>
                  <a:cubicBezTo>
                    <a:pt x="63981" y="224953"/>
                    <a:pt x="112161" y="176773"/>
                    <a:pt x="112161" y="117539"/>
                  </a:cubicBezTo>
                  <a:cubicBezTo>
                    <a:pt x="112161" y="58306"/>
                    <a:pt x="63981" y="10126"/>
                    <a:pt x="4748" y="10126"/>
                  </a:cubicBezTo>
                  <a:cubicBezTo>
                    <a:pt x="3153" y="10126"/>
                    <a:pt x="1595" y="10163"/>
                    <a:pt x="0" y="10237"/>
                  </a:cubicBezTo>
                  <a:lnTo>
                    <a:pt x="0" y="111"/>
                  </a:lnTo>
                  <a:cubicBezTo>
                    <a:pt x="1558" y="37"/>
                    <a:pt x="3153" y="0"/>
                    <a:pt x="4748" y="0"/>
                  </a:cubicBezTo>
                  <a:cubicBezTo>
                    <a:pt x="69544" y="0"/>
                    <a:pt x="122287" y="52705"/>
                    <a:pt x="122287" y="117539"/>
                  </a:cubicBezTo>
                  <a:cubicBezTo>
                    <a:pt x="122287" y="182373"/>
                    <a:pt x="69581" y="235078"/>
                    <a:pt x="4748" y="235078"/>
                  </a:cubicBezTo>
                  <a:cubicBezTo>
                    <a:pt x="3153" y="235078"/>
                    <a:pt x="1595" y="235041"/>
                    <a:pt x="0" y="234967"/>
                  </a:cubicBezTo>
                  <a:lnTo>
                    <a:pt x="0" y="224842"/>
                  </a:lnTo>
                  <a:close/>
                </a:path>
              </a:pathLst>
            </a:custGeom>
            <a:solidFill>
              <a:srgbClr val="FC6538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1" name="Freihandform: Form 210">
              <a:extLst>
                <a:ext uri="{FF2B5EF4-FFF2-40B4-BE49-F238E27FC236}">
                  <a16:creationId xmlns:a16="http://schemas.microsoft.com/office/drawing/2014/main" id="{942F71B9-2BA9-E425-B375-6E4021BCCF68}"/>
                </a:ext>
              </a:extLst>
            </p:cNvPr>
            <p:cNvSpPr/>
            <p:nvPr/>
          </p:nvSpPr>
          <p:spPr>
            <a:xfrm>
              <a:off x="697424" y="4875061"/>
              <a:ext cx="480363" cy="923433"/>
            </a:xfrm>
            <a:custGeom>
              <a:avLst/>
              <a:gdLst>
                <a:gd name="connsiteX0" fmla="*/ 0 w 122286"/>
                <a:gd name="connsiteY0" fmla="*/ 224842 h 235078"/>
                <a:gd name="connsiteX1" fmla="*/ 4747 w 122286"/>
                <a:gd name="connsiteY1" fmla="*/ 224953 h 235078"/>
                <a:gd name="connsiteX2" fmla="*/ 112161 w 122286"/>
                <a:gd name="connsiteY2" fmla="*/ 117539 h 235078"/>
                <a:gd name="connsiteX3" fmla="*/ 4747 w 122286"/>
                <a:gd name="connsiteY3" fmla="*/ 10126 h 235078"/>
                <a:gd name="connsiteX4" fmla="*/ 0 w 122286"/>
                <a:gd name="connsiteY4" fmla="*/ 10237 h 235078"/>
                <a:gd name="connsiteX5" fmla="*/ 0 w 122286"/>
                <a:gd name="connsiteY5" fmla="*/ 111 h 235078"/>
                <a:gd name="connsiteX6" fmla="*/ 4747 w 122286"/>
                <a:gd name="connsiteY6" fmla="*/ 0 h 235078"/>
                <a:gd name="connsiteX7" fmla="*/ 122287 w 122286"/>
                <a:gd name="connsiteY7" fmla="*/ 117539 h 235078"/>
                <a:gd name="connsiteX8" fmla="*/ 4747 w 122286"/>
                <a:gd name="connsiteY8" fmla="*/ 235078 h 235078"/>
                <a:gd name="connsiteX9" fmla="*/ 0 w 122286"/>
                <a:gd name="connsiteY9" fmla="*/ 234967 h 235078"/>
                <a:gd name="connsiteX10" fmla="*/ 0 w 122286"/>
                <a:gd name="connsiteY10" fmla="*/ 224842 h 235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2286" h="235078">
                  <a:moveTo>
                    <a:pt x="0" y="224842"/>
                  </a:moveTo>
                  <a:cubicBezTo>
                    <a:pt x="1558" y="224916"/>
                    <a:pt x="3153" y="224953"/>
                    <a:pt x="4747" y="224953"/>
                  </a:cubicBezTo>
                  <a:cubicBezTo>
                    <a:pt x="63981" y="224953"/>
                    <a:pt x="112161" y="176773"/>
                    <a:pt x="112161" y="117539"/>
                  </a:cubicBezTo>
                  <a:cubicBezTo>
                    <a:pt x="112161" y="58306"/>
                    <a:pt x="63981" y="10126"/>
                    <a:pt x="4747" y="10126"/>
                  </a:cubicBezTo>
                  <a:cubicBezTo>
                    <a:pt x="3153" y="10126"/>
                    <a:pt x="1558" y="10163"/>
                    <a:pt x="0" y="10237"/>
                  </a:cubicBezTo>
                  <a:lnTo>
                    <a:pt x="0" y="111"/>
                  </a:lnTo>
                  <a:cubicBezTo>
                    <a:pt x="1558" y="37"/>
                    <a:pt x="3153" y="0"/>
                    <a:pt x="4747" y="0"/>
                  </a:cubicBezTo>
                  <a:cubicBezTo>
                    <a:pt x="69544" y="0"/>
                    <a:pt x="122287" y="52705"/>
                    <a:pt x="122287" y="117539"/>
                  </a:cubicBezTo>
                  <a:cubicBezTo>
                    <a:pt x="122287" y="182373"/>
                    <a:pt x="69581" y="235078"/>
                    <a:pt x="4747" y="235078"/>
                  </a:cubicBezTo>
                  <a:cubicBezTo>
                    <a:pt x="3153" y="235078"/>
                    <a:pt x="1595" y="235041"/>
                    <a:pt x="0" y="234967"/>
                  </a:cubicBezTo>
                  <a:lnTo>
                    <a:pt x="0" y="224842"/>
                  </a:lnTo>
                  <a:close/>
                </a:path>
              </a:pathLst>
            </a:custGeom>
            <a:solidFill>
              <a:srgbClr val="FE7E58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2" name="Freihandform: Form 211">
              <a:extLst>
                <a:ext uri="{FF2B5EF4-FFF2-40B4-BE49-F238E27FC236}">
                  <a16:creationId xmlns:a16="http://schemas.microsoft.com/office/drawing/2014/main" id="{F529A6D5-1D24-BCA1-E26A-4965C98158EF}"/>
                </a:ext>
              </a:extLst>
            </p:cNvPr>
            <p:cNvSpPr/>
            <p:nvPr/>
          </p:nvSpPr>
          <p:spPr>
            <a:xfrm>
              <a:off x="213416" y="4875061"/>
              <a:ext cx="923432" cy="923433"/>
            </a:xfrm>
            <a:custGeom>
              <a:avLst/>
              <a:gdLst>
                <a:gd name="connsiteX0" fmla="*/ 117539 w 235078"/>
                <a:gd name="connsiteY0" fmla="*/ 10163 h 235078"/>
                <a:gd name="connsiteX1" fmla="*/ 224953 w 235078"/>
                <a:gd name="connsiteY1" fmla="*/ 117576 h 235078"/>
                <a:gd name="connsiteX2" fmla="*/ 117539 w 235078"/>
                <a:gd name="connsiteY2" fmla="*/ 224990 h 235078"/>
                <a:gd name="connsiteX3" fmla="*/ 10126 w 235078"/>
                <a:gd name="connsiteY3" fmla="*/ 117576 h 235078"/>
                <a:gd name="connsiteX4" fmla="*/ 117539 w 235078"/>
                <a:gd name="connsiteY4" fmla="*/ 10163 h 235078"/>
                <a:gd name="connsiteX5" fmla="*/ 117539 w 235078"/>
                <a:gd name="connsiteY5" fmla="*/ 235078 h 235078"/>
                <a:gd name="connsiteX6" fmla="*/ 235078 w 235078"/>
                <a:gd name="connsiteY6" fmla="*/ 117539 h 235078"/>
                <a:gd name="connsiteX7" fmla="*/ 117539 w 235078"/>
                <a:gd name="connsiteY7" fmla="*/ 0 h 235078"/>
                <a:gd name="connsiteX8" fmla="*/ 0 w 235078"/>
                <a:gd name="connsiteY8" fmla="*/ 117539 h 235078"/>
                <a:gd name="connsiteX9" fmla="*/ 117539 w 235078"/>
                <a:gd name="connsiteY9" fmla="*/ 235078 h 235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5078" h="235078">
                  <a:moveTo>
                    <a:pt x="117539" y="10163"/>
                  </a:moveTo>
                  <a:cubicBezTo>
                    <a:pt x="176773" y="10163"/>
                    <a:pt x="224953" y="58343"/>
                    <a:pt x="224953" y="117576"/>
                  </a:cubicBezTo>
                  <a:cubicBezTo>
                    <a:pt x="224953" y="176810"/>
                    <a:pt x="176773" y="224990"/>
                    <a:pt x="117539" y="224990"/>
                  </a:cubicBezTo>
                  <a:cubicBezTo>
                    <a:pt x="58306" y="224990"/>
                    <a:pt x="10126" y="176810"/>
                    <a:pt x="10126" y="117576"/>
                  </a:cubicBezTo>
                  <a:cubicBezTo>
                    <a:pt x="10126" y="58343"/>
                    <a:pt x="58306" y="10163"/>
                    <a:pt x="117539" y="10163"/>
                  </a:cubicBezTo>
                  <a:moveTo>
                    <a:pt x="117539" y="235078"/>
                  </a:moveTo>
                  <a:cubicBezTo>
                    <a:pt x="182336" y="235078"/>
                    <a:pt x="235078" y="182373"/>
                    <a:pt x="235078" y="117539"/>
                  </a:cubicBezTo>
                  <a:cubicBezTo>
                    <a:pt x="235078" y="52705"/>
                    <a:pt x="182336" y="0"/>
                    <a:pt x="117539" y="0"/>
                  </a:cubicBezTo>
                  <a:cubicBezTo>
                    <a:pt x="52743" y="0"/>
                    <a:pt x="0" y="52705"/>
                    <a:pt x="0" y="117539"/>
                  </a:cubicBezTo>
                  <a:cubicBezTo>
                    <a:pt x="0" y="182373"/>
                    <a:pt x="52705" y="235078"/>
                    <a:pt x="117539" y="235078"/>
                  </a:cubicBezTo>
                </a:path>
              </a:pathLst>
            </a:custGeom>
            <a:solidFill>
              <a:srgbClr val="FC6538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3" name="Freihandform: Form 212">
              <a:extLst>
                <a:ext uri="{FF2B5EF4-FFF2-40B4-BE49-F238E27FC236}">
                  <a16:creationId xmlns:a16="http://schemas.microsoft.com/office/drawing/2014/main" id="{3D928F0E-B11E-E80E-AB2A-3A6449694E22}"/>
                </a:ext>
              </a:extLst>
            </p:cNvPr>
            <p:cNvSpPr/>
            <p:nvPr/>
          </p:nvSpPr>
          <p:spPr>
            <a:xfrm>
              <a:off x="151786" y="4813431"/>
              <a:ext cx="1046691" cy="1046837"/>
            </a:xfrm>
            <a:custGeom>
              <a:avLst/>
              <a:gdLst>
                <a:gd name="connsiteX0" fmla="*/ 133228 w 266456"/>
                <a:gd name="connsiteY0" fmla="*/ 155557 h 266493"/>
                <a:gd name="connsiteX1" fmla="*/ 155520 w 266456"/>
                <a:gd name="connsiteY1" fmla="*/ 133265 h 266493"/>
                <a:gd name="connsiteX2" fmla="*/ 133228 w 266456"/>
                <a:gd name="connsiteY2" fmla="*/ 110974 h 266493"/>
                <a:gd name="connsiteX3" fmla="*/ 110937 w 266456"/>
                <a:gd name="connsiteY3" fmla="*/ 133265 h 266493"/>
                <a:gd name="connsiteX4" fmla="*/ 133228 w 266456"/>
                <a:gd name="connsiteY4" fmla="*/ 155557 h 266493"/>
                <a:gd name="connsiteX5" fmla="*/ 133228 w 266456"/>
                <a:gd name="connsiteY5" fmla="*/ 0 h 266493"/>
                <a:gd name="connsiteX6" fmla="*/ 266457 w 266456"/>
                <a:gd name="connsiteY6" fmla="*/ 133265 h 266493"/>
                <a:gd name="connsiteX7" fmla="*/ 133228 w 266456"/>
                <a:gd name="connsiteY7" fmla="*/ 266494 h 266493"/>
                <a:gd name="connsiteX8" fmla="*/ 0 w 266456"/>
                <a:gd name="connsiteY8" fmla="*/ 133265 h 266493"/>
                <a:gd name="connsiteX9" fmla="*/ 133228 w 266456"/>
                <a:gd name="connsiteY9" fmla="*/ 0 h 2664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66456" h="266493">
                  <a:moveTo>
                    <a:pt x="133228" y="155557"/>
                  </a:moveTo>
                  <a:cubicBezTo>
                    <a:pt x="145542" y="155557"/>
                    <a:pt x="155520" y="145580"/>
                    <a:pt x="155520" y="133265"/>
                  </a:cubicBezTo>
                  <a:cubicBezTo>
                    <a:pt x="155520" y="120951"/>
                    <a:pt x="145542" y="110974"/>
                    <a:pt x="133228" y="110974"/>
                  </a:cubicBezTo>
                  <a:cubicBezTo>
                    <a:pt x="120914" y="110974"/>
                    <a:pt x="110937" y="120951"/>
                    <a:pt x="110937" y="133265"/>
                  </a:cubicBezTo>
                  <a:cubicBezTo>
                    <a:pt x="110937" y="145580"/>
                    <a:pt x="120914" y="155557"/>
                    <a:pt x="133228" y="155557"/>
                  </a:cubicBezTo>
                  <a:moveTo>
                    <a:pt x="133228" y="0"/>
                  </a:moveTo>
                  <a:cubicBezTo>
                    <a:pt x="206816" y="0"/>
                    <a:pt x="266457" y="59641"/>
                    <a:pt x="266457" y="133265"/>
                  </a:cubicBezTo>
                  <a:cubicBezTo>
                    <a:pt x="266457" y="206890"/>
                    <a:pt x="206816" y="266494"/>
                    <a:pt x="133228" y="266494"/>
                  </a:cubicBezTo>
                  <a:cubicBezTo>
                    <a:pt x="59641" y="266494"/>
                    <a:pt x="0" y="206853"/>
                    <a:pt x="0" y="133265"/>
                  </a:cubicBezTo>
                  <a:cubicBezTo>
                    <a:pt x="0" y="59678"/>
                    <a:pt x="59641" y="0"/>
                    <a:pt x="133228" y="0"/>
                  </a:cubicBezTo>
                </a:path>
              </a:pathLst>
            </a:custGeom>
            <a:solidFill>
              <a:srgbClr val="0059B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4" name="Freihandform: Form 213">
              <a:extLst>
                <a:ext uri="{FF2B5EF4-FFF2-40B4-BE49-F238E27FC236}">
                  <a16:creationId xmlns:a16="http://schemas.microsoft.com/office/drawing/2014/main" id="{F36012F0-623D-62DB-D8F1-11BE091E25C4}"/>
                </a:ext>
              </a:extLst>
            </p:cNvPr>
            <p:cNvSpPr/>
            <p:nvPr/>
          </p:nvSpPr>
          <p:spPr>
            <a:xfrm>
              <a:off x="260613" y="4866607"/>
              <a:ext cx="828999" cy="940332"/>
            </a:xfrm>
            <a:custGeom>
              <a:avLst/>
              <a:gdLst>
                <a:gd name="connsiteX0" fmla="*/ 105525 w 211038"/>
                <a:gd name="connsiteY0" fmla="*/ 142019 h 239380"/>
                <a:gd name="connsiteX1" fmla="*/ 127816 w 211038"/>
                <a:gd name="connsiteY1" fmla="*/ 119727 h 239380"/>
                <a:gd name="connsiteX2" fmla="*/ 105525 w 211038"/>
                <a:gd name="connsiteY2" fmla="*/ 97437 h 239380"/>
                <a:gd name="connsiteX3" fmla="*/ 83234 w 211038"/>
                <a:gd name="connsiteY3" fmla="*/ 119727 h 239380"/>
                <a:gd name="connsiteX4" fmla="*/ 105525 w 211038"/>
                <a:gd name="connsiteY4" fmla="*/ 142019 h 239380"/>
                <a:gd name="connsiteX5" fmla="*/ 1709 w 211038"/>
                <a:gd name="connsiteY5" fmla="*/ 172507 h 239380"/>
                <a:gd name="connsiteX6" fmla="*/ 38058 w 211038"/>
                <a:gd name="connsiteY6" fmla="*/ 151514 h 239380"/>
                <a:gd name="connsiteX7" fmla="*/ 30936 w 211038"/>
                <a:gd name="connsiteY7" fmla="*/ 119691 h 239380"/>
                <a:gd name="connsiteX8" fmla="*/ 38058 w 211038"/>
                <a:gd name="connsiteY8" fmla="*/ 87867 h 239380"/>
                <a:gd name="connsiteX9" fmla="*/ 1709 w 211038"/>
                <a:gd name="connsiteY9" fmla="*/ 66874 h 239380"/>
                <a:gd name="connsiteX10" fmla="*/ 448 w 211038"/>
                <a:gd name="connsiteY10" fmla="*/ 62238 h 239380"/>
                <a:gd name="connsiteX11" fmla="*/ 3230 w 211038"/>
                <a:gd name="connsiteY11" fmla="*/ 57416 h 239380"/>
                <a:gd name="connsiteX12" fmla="*/ 7866 w 211038"/>
                <a:gd name="connsiteY12" fmla="*/ 56192 h 239380"/>
                <a:gd name="connsiteX13" fmla="*/ 44252 w 211038"/>
                <a:gd name="connsiteY13" fmla="*/ 77185 h 239380"/>
                <a:gd name="connsiteX14" fmla="*/ 99331 w 211038"/>
                <a:gd name="connsiteY14" fmla="*/ 45399 h 239380"/>
                <a:gd name="connsiteX15" fmla="*/ 99331 w 211038"/>
                <a:gd name="connsiteY15" fmla="*/ 3375 h 239380"/>
                <a:gd name="connsiteX16" fmla="*/ 102743 w 211038"/>
                <a:gd name="connsiteY16" fmla="*/ 0 h 239380"/>
                <a:gd name="connsiteX17" fmla="*/ 108307 w 211038"/>
                <a:gd name="connsiteY17" fmla="*/ 0 h 239380"/>
                <a:gd name="connsiteX18" fmla="*/ 111682 w 211038"/>
                <a:gd name="connsiteY18" fmla="*/ 3375 h 239380"/>
                <a:gd name="connsiteX19" fmla="*/ 111682 w 211038"/>
                <a:gd name="connsiteY19" fmla="*/ 45399 h 239380"/>
                <a:gd name="connsiteX20" fmla="*/ 166761 w 211038"/>
                <a:gd name="connsiteY20" fmla="*/ 77185 h 239380"/>
                <a:gd name="connsiteX21" fmla="*/ 203147 w 211038"/>
                <a:gd name="connsiteY21" fmla="*/ 56192 h 239380"/>
                <a:gd name="connsiteX22" fmla="*/ 207783 w 211038"/>
                <a:gd name="connsiteY22" fmla="*/ 57416 h 239380"/>
                <a:gd name="connsiteX23" fmla="*/ 210565 w 211038"/>
                <a:gd name="connsiteY23" fmla="*/ 62238 h 239380"/>
                <a:gd name="connsiteX24" fmla="*/ 209341 w 211038"/>
                <a:gd name="connsiteY24" fmla="*/ 66874 h 239380"/>
                <a:gd name="connsiteX25" fmla="*/ 172992 w 211038"/>
                <a:gd name="connsiteY25" fmla="*/ 87867 h 239380"/>
                <a:gd name="connsiteX26" fmla="*/ 180113 w 211038"/>
                <a:gd name="connsiteY26" fmla="*/ 119691 h 239380"/>
                <a:gd name="connsiteX27" fmla="*/ 172992 w 211038"/>
                <a:gd name="connsiteY27" fmla="*/ 151514 h 239380"/>
                <a:gd name="connsiteX28" fmla="*/ 209341 w 211038"/>
                <a:gd name="connsiteY28" fmla="*/ 172507 h 239380"/>
                <a:gd name="connsiteX29" fmla="*/ 210565 w 211038"/>
                <a:gd name="connsiteY29" fmla="*/ 177144 h 239380"/>
                <a:gd name="connsiteX30" fmla="*/ 207783 w 211038"/>
                <a:gd name="connsiteY30" fmla="*/ 181965 h 239380"/>
                <a:gd name="connsiteX31" fmla="*/ 203147 w 211038"/>
                <a:gd name="connsiteY31" fmla="*/ 183189 h 239380"/>
                <a:gd name="connsiteX32" fmla="*/ 166761 w 211038"/>
                <a:gd name="connsiteY32" fmla="*/ 162196 h 239380"/>
                <a:gd name="connsiteX33" fmla="*/ 111682 w 211038"/>
                <a:gd name="connsiteY33" fmla="*/ 193982 h 239380"/>
                <a:gd name="connsiteX34" fmla="*/ 111682 w 211038"/>
                <a:gd name="connsiteY34" fmla="*/ 236006 h 239380"/>
                <a:gd name="connsiteX35" fmla="*/ 108307 w 211038"/>
                <a:gd name="connsiteY35" fmla="*/ 239381 h 239380"/>
                <a:gd name="connsiteX36" fmla="*/ 102743 w 211038"/>
                <a:gd name="connsiteY36" fmla="*/ 239381 h 239380"/>
                <a:gd name="connsiteX37" fmla="*/ 99331 w 211038"/>
                <a:gd name="connsiteY37" fmla="*/ 236006 h 239380"/>
                <a:gd name="connsiteX38" fmla="*/ 99331 w 211038"/>
                <a:gd name="connsiteY38" fmla="*/ 193982 h 239380"/>
                <a:gd name="connsiteX39" fmla="*/ 44252 w 211038"/>
                <a:gd name="connsiteY39" fmla="*/ 162196 h 239380"/>
                <a:gd name="connsiteX40" fmla="*/ 7866 w 211038"/>
                <a:gd name="connsiteY40" fmla="*/ 183189 h 239380"/>
                <a:gd name="connsiteX41" fmla="*/ 3230 w 211038"/>
                <a:gd name="connsiteY41" fmla="*/ 181965 h 239380"/>
                <a:gd name="connsiteX42" fmla="*/ 448 w 211038"/>
                <a:gd name="connsiteY42" fmla="*/ 177144 h 239380"/>
                <a:gd name="connsiteX43" fmla="*/ 1709 w 211038"/>
                <a:gd name="connsiteY43" fmla="*/ 172507 h 239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11038" h="239380">
                  <a:moveTo>
                    <a:pt x="105525" y="142019"/>
                  </a:moveTo>
                  <a:cubicBezTo>
                    <a:pt x="117839" y="142019"/>
                    <a:pt x="127816" y="132042"/>
                    <a:pt x="127816" y="119727"/>
                  </a:cubicBezTo>
                  <a:cubicBezTo>
                    <a:pt x="127816" y="107414"/>
                    <a:pt x="117839" y="97437"/>
                    <a:pt x="105525" y="97437"/>
                  </a:cubicBezTo>
                  <a:cubicBezTo>
                    <a:pt x="93211" y="97437"/>
                    <a:pt x="83234" y="107414"/>
                    <a:pt x="83234" y="119727"/>
                  </a:cubicBezTo>
                  <a:cubicBezTo>
                    <a:pt x="83234" y="132042"/>
                    <a:pt x="93211" y="142019"/>
                    <a:pt x="105525" y="142019"/>
                  </a:cubicBezTo>
                  <a:moveTo>
                    <a:pt x="1709" y="172507"/>
                  </a:moveTo>
                  <a:lnTo>
                    <a:pt x="38058" y="151514"/>
                  </a:lnTo>
                  <a:cubicBezTo>
                    <a:pt x="33496" y="141871"/>
                    <a:pt x="30936" y="131077"/>
                    <a:pt x="30936" y="119691"/>
                  </a:cubicBezTo>
                  <a:cubicBezTo>
                    <a:pt x="30936" y="108304"/>
                    <a:pt x="33496" y="97510"/>
                    <a:pt x="38058" y="87867"/>
                  </a:cubicBezTo>
                  <a:lnTo>
                    <a:pt x="1709" y="66874"/>
                  </a:lnTo>
                  <a:cubicBezTo>
                    <a:pt x="77" y="65947"/>
                    <a:pt x="-479" y="63870"/>
                    <a:pt x="448" y="62238"/>
                  </a:cubicBezTo>
                  <a:lnTo>
                    <a:pt x="3230" y="57416"/>
                  </a:lnTo>
                  <a:cubicBezTo>
                    <a:pt x="4157" y="55784"/>
                    <a:pt x="6234" y="55228"/>
                    <a:pt x="7866" y="56192"/>
                  </a:cubicBezTo>
                  <a:lnTo>
                    <a:pt x="44252" y="77185"/>
                  </a:lnTo>
                  <a:cubicBezTo>
                    <a:pt x="56603" y="59382"/>
                    <a:pt x="76520" y="47253"/>
                    <a:pt x="99331" y="45399"/>
                  </a:cubicBezTo>
                  <a:lnTo>
                    <a:pt x="99331" y="3375"/>
                  </a:lnTo>
                  <a:cubicBezTo>
                    <a:pt x="99331" y="1484"/>
                    <a:pt x="100851" y="0"/>
                    <a:pt x="102743" y="0"/>
                  </a:cubicBezTo>
                  <a:lnTo>
                    <a:pt x="108307" y="0"/>
                  </a:lnTo>
                  <a:cubicBezTo>
                    <a:pt x="110198" y="0"/>
                    <a:pt x="111682" y="1521"/>
                    <a:pt x="111682" y="3375"/>
                  </a:cubicBezTo>
                  <a:lnTo>
                    <a:pt x="111682" y="45399"/>
                  </a:lnTo>
                  <a:cubicBezTo>
                    <a:pt x="134492" y="47290"/>
                    <a:pt x="154410" y="59419"/>
                    <a:pt x="166761" y="77185"/>
                  </a:cubicBezTo>
                  <a:lnTo>
                    <a:pt x="203147" y="56192"/>
                  </a:lnTo>
                  <a:cubicBezTo>
                    <a:pt x="204779" y="55265"/>
                    <a:pt x="206856" y="55821"/>
                    <a:pt x="207783" y="57416"/>
                  </a:cubicBezTo>
                  <a:lnTo>
                    <a:pt x="210565" y="62238"/>
                  </a:lnTo>
                  <a:cubicBezTo>
                    <a:pt x="211492" y="63870"/>
                    <a:pt x="210936" y="65947"/>
                    <a:pt x="209341" y="66874"/>
                  </a:cubicBezTo>
                  <a:lnTo>
                    <a:pt x="172992" y="87867"/>
                  </a:lnTo>
                  <a:cubicBezTo>
                    <a:pt x="177554" y="97510"/>
                    <a:pt x="180113" y="108304"/>
                    <a:pt x="180113" y="119691"/>
                  </a:cubicBezTo>
                  <a:cubicBezTo>
                    <a:pt x="180113" y="131077"/>
                    <a:pt x="177554" y="141871"/>
                    <a:pt x="172992" y="151514"/>
                  </a:cubicBezTo>
                  <a:lnTo>
                    <a:pt x="209341" y="172507"/>
                  </a:lnTo>
                  <a:cubicBezTo>
                    <a:pt x="210973" y="173435"/>
                    <a:pt x="211529" y="175511"/>
                    <a:pt x="210565" y="177144"/>
                  </a:cubicBezTo>
                  <a:lnTo>
                    <a:pt x="207783" y="181965"/>
                  </a:lnTo>
                  <a:cubicBezTo>
                    <a:pt x="206856" y="183597"/>
                    <a:pt x="204779" y="184153"/>
                    <a:pt x="203147" y="183189"/>
                  </a:cubicBezTo>
                  <a:lnTo>
                    <a:pt x="166761" y="162196"/>
                  </a:lnTo>
                  <a:cubicBezTo>
                    <a:pt x="154410" y="179999"/>
                    <a:pt x="134492" y="192128"/>
                    <a:pt x="111682" y="193982"/>
                  </a:cubicBezTo>
                  <a:lnTo>
                    <a:pt x="111682" y="236006"/>
                  </a:lnTo>
                  <a:cubicBezTo>
                    <a:pt x="111682" y="237860"/>
                    <a:pt x="110161" y="239381"/>
                    <a:pt x="108307" y="239381"/>
                  </a:cubicBezTo>
                  <a:lnTo>
                    <a:pt x="102743" y="239381"/>
                  </a:lnTo>
                  <a:cubicBezTo>
                    <a:pt x="100851" y="239381"/>
                    <a:pt x="99331" y="237860"/>
                    <a:pt x="99331" y="236006"/>
                  </a:cubicBezTo>
                  <a:lnTo>
                    <a:pt x="99331" y="193982"/>
                  </a:lnTo>
                  <a:cubicBezTo>
                    <a:pt x="76520" y="192128"/>
                    <a:pt x="56603" y="179963"/>
                    <a:pt x="44252" y="162196"/>
                  </a:cubicBezTo>
                  <a:lnTo>
                    <a:pt x="7866" y="183189"/>
                  </a:lnTo>
                  <a:cubicBezTo>
                    <a:pt x="6234" y="184117"/>
                    <a:pt x="4157" y="183560"/>
                    <a:pt x="3230" y="181965"/>
                  </a:cubicBezTo>
                  <a:lnTo>
                    <a:pt x="448" y="177144"/>
                  </a:lnTo>
                  <a:cubicBezTo>
                    <a:pt x="-479" y="175511"/>
                    <a:pt x="77" y="173435"/>
                    <a:pt x="1709" y="172507"/>
                  </a:cubicBezTo>
                </a:path>
              </a:pathLst>
            </a:custGeom>
            <a:solidFill>
              <a:srgbClr val="1195E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215" name="Freihandform: Form 214">
            <a:extLst>
              <a:ext uri="{FF2B5EF4-FFF2-40B4-BE49-F238E27FC236}">
                <a16:creationId xmlns:a16="http://schemas.microsoft.com/office/drawing/2014/main" id="{30414DF7-EFAB-3682-BD97-8681C5A08261}"/>
              </a:ext>
            </a:extLst>
          </p:cNvPr>
          <p:cNvSpPr/>
          <p:nvPr/>
        </p:nvSpPr>
        <p:spPr>
          <a:xfrm>
            <a:off x="4876800" y="3276600"/>
            <a:ext cx="372110" cy="372110"/>
          </a:xfrm>
          <a:custGeom>
            <a:avLst/>
            <a:gdLst>
              <a:gd name="connsiteX0" fmla="*/ 94729 w 94728"/>
              <a:gd name="connsiteY0" fmla="*/ 47364 h 94728"/>
              <a:gd name="connsiteX1" fmla="*/ 47364 w 94728"/>
              <a:gd name="connsiteY1" fmla="*/ 94729 h 94728"/>
              <a:gd name="connsiteX2" fmla="*/ 0 w 94728"/>
              <a:gd name="connsiteY2" fmla="*/ 47364 h 94728"/>
              <a:gd name="connsiteX3" fmla="*/ 47364 w 94728"/>
              <a:gd name="connsiteY3" fmla="*/ 0 h 94728"/>
              <a:gd name="connsiteX4" fmla="*/ 94729 w 94728"/>
              <a:gd name="connsiteY4" fmla="*/ 47364 h 947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728" h="94728">
                <a:moveTo>
                  <a:pt x="94729" y="47364"/>
                </a:moveTo>
                <a:cubicBezTo>
                  <a:pt x="94729" y="73513"/>
                  <a:pt x="73513" y="94729"/>
                  <a:pt x="47364" y="94729"/>
                </a:cubicBezTo>
                <a:cubicBezTo>
                  <a:pt x="21216" y="94729"/>
                  <a:pt x="0" y="73513"/>
                  <a:pt x="0" y="47364"/>
                </a:cubicBezTo>
                <a:cubicBezTo>
                  <a:pt x="0" y="21216"/>
                  <a:pt x="21216" y="0"/>
                  <a:pt x="47364" y="0"/>
                </a:cubicBezTo>
                <a:cubicBezTo>
                  <a:pt x="73513" y="0"/>
                  <a:pt x="94729" y="21216"/>
                  <a:pt x="94729" y="47364"/>
                </a:cubicBezTo>
              </a:path>
            </a:pathLst>
          </a:custGeom>
          <a:solidFill>
            <a:srgbClr val="FDC83A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16" name="Freihandform: Form 215">
            <a:extLst>
              <a:ext uri="{FF2B5EF4-FFF2-40B4-BE49-F238E27FC236}">
                <a16:creationId xmlns:a16="http://schemas.microsoft.com/office/drawing/2014/main" id="{D3B3EACA-860C-C0CE-7A5A-E1CAD62F7472}"/>
              </a:ext>
            </a:extLst>
          </p:cNvPr>
          <p:cNvSpPr/>
          <p:nvPr/>
        </p:nvSpPr>
        <p:spPr>
          <a:xfrm>
            <a:off x="4419600" y="3733800"/>
            <a:ext cx="434906" cy="295620"/>
          </a:xfrm>
          <a:custGeom>
            <a:avLst/>
            <a:gdLst>
              <a:gd name="connsiteX0" fmla="*/ 110677 w 110714"/>
              <a:gd name="connsiteY0" fmla="*/ 39130 h 75256"/>
              <a:gd name="connsiteX1" fmla="*/ 110677 w 110714"/>
              <a:gd name="connsiteY1" fmla="*/ 36015 h 75256"/>
              <a:gd name="connsiteX2" fmla="*/ 110677 w 110714"/>
              <a:gd name="connsiteY2" fmla="*/ 35866 h 75256"/>
              <a:gd name="connsiteX3" fmla="*/ 74811 w 110714"/>
              <a:gd name="connsiteY3" fmla="*/ 0 h 75256"/>
              <a:gd name="connsiteX4" fmla="*/ 41059 w 110714"/>
              <a:gd name="connsiteY4" fmla="*/ 23738 h 75256"/>
              <a:gd name="connsiteX5" fmla="*/ 27558 w 110714"/>
              <a:gd name="connsiteY5" fmla="*/ 20177 h 75256"/>
              <a:gd name="connsiteX6" fmla="*/ 0 w 110714"/>
              <a:gd name="connsiteY6" fmla="*/ 47735 h 75256"/>
              <a:gd name="connsiteX7" fmla="*/ 27039 w 110714"/>
              <a:gd name="connsiteY7" fmla="*/ 75256 h 75256"/>
              <a:gd name="connsiteX8" fmla="*/ 27039 w 110714"/>
              <a:gd name="connsiteY8" fmla="*/ 75256 h 75256"/>
              <a:gd name="connsiteX9" fmla="*/ 74589 w 110714"/>
              <a:gd name="connsiteY9" fmla="*/ 75256 h 75256"/>
              <a:gd name="connsiteX10" fmla="*/ 74589 w 110714"/>
              <a:gd name="connsiteY10" fmla="*/ 75256 h 75256"/>
              <a:gd name="connsiteX11" fmla="*/ 74774 w 110714"/>
              <a:gd name="connsiteY11" fmla="*/ 75256 h 75256"/>
              <a:gd name="connsiteX12" fmla="*/ 110715 w 110714"/>
              <a:gd name="connsiteY12" fmla="*/ 39316 h 75256"/>
              <a:gd name="connsiteX13" fmla="*/ 110715 w 110714"/>
              <a:gd name="connsiteY13" fmla="*/ 39130 h 752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10714" h="75256">
                <a:moveTo>
                  <a:pt x="110677" y="39130"/>
                </a:moveTo>
                <a:lnTo>
                  <a:pt x="110677" y="36015"/>
                </a:lnTo>
                <a:cubicBezTo>
                  <a:pt x="110677" y="36015"/>
                  <a:pt x="110677" y="35941"/>
                  <a:pt x="110677" y="35866"/>
                </a:cubicBezTo>
                <a:cubicBezTo>
                  <a:pt x="110677" y="16060"/>
                  <a:pt x="94617" y="0"/>
                  <a:pt x="74811" y="0"/>
                </a:cubicBezTo>
                <a:cubicBezTo>
                  <a:pt x="59270" y="0"/>
                  <a:pt x="46029" y="9903"/>
                  <a:pt x="41059" y="23738"/>
                </a:cubicBezTo>
                <a:cubicBezTo>
                  <a:pt x="37053" y="21475"/>
                  <a:pt x="32454" y="20177"/>
                  <a:pt x="27558" y="20177"/>
                </a:cubicBezTo>
                <a:cubicBezTo>
                  <a:pt x="12351" y="20177"/>
                  <a:pt x="0" y="32491"/>
                  <a:pt x="0" y="47735"/>
                </a:cubicBezTo>
                <a:cubicBezTo>
                  <a:pt x="0" y="62979"/>
                  <a:pt x="12054" y="74960"/>
                  <a:pt x="27039" y="75256"/>
                </a:cubicBezTo>
                <a:lnTo>
                  <a:pt x="27039" y="75256"/>
                </a:lnTo>
                <a:cubicBezTo>
                  <a:pt x="27039" y="75256"/>
                  <a:pt x="74589" y="75256"/>
                  <a:pt x="74589" y="75256"/>
                </a:cubicBezTo>
                <a:lnTo>
                  <a:pt x="74589" y="75256"/>
                </a:lnTo>
                <a:cubicBezTo>
                  <a:pt x="74589" y="75256"/>
                  <a:pt x="74700" y="75256"/>
                  <a:pt x="74774" y="75256"/>
                </a:cubicBezTo>
                <a:cubicBezTo>
                  <a:pt x="94617" y="75256"/>
                  <a:pt x="110715" y="59159"/>
                  <a:pt x="110715" y="39316"/>
                </a:cubicBezTo>
                <a:cubicBezTo>
                  <a:pt x="110715" y="39279"/>
                  <a:pt x="110715" y="39204"/>
                  <a:pt x="110715" y="39130"/>
                </a:cubicBezTo>
                <a:close/>
              </a:path>
            </a:pathLst>
          </a:custGeom>
          <a:solidFill>
            <a:srgbClr val="BAE5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17" name="Freihandform: Form 216">
            <a:extLst>
              <a:ext uri="{FF2B5EF4-FFF2-40B4-BE49-F238E27FC236}">
                <a16:creationId xmlns:a16="http://schemas.microsoft.com/office/drawing/2014/main" id="{8C56205B-614A-7B0A-D32C-001C024BB48F}"/>
              </a:ext>
            </a:extLst>
          </p:cNvPr>
          <p:cNvSpPr/>
          <p:nvPr/>
        </p:nvSpPr>
        <p:spPr>
          <a:xfrm>
            <a:off x="5181600" y="3505200"/>
            <a:ext cx="1005021" cy="539518"/>
          </a:xfrm>
          <a:custGeom>
            <a:avLst/>
            <a:gdLst>
              <a:gd name="connsiteX0" fmla="*/ 212564 w 255848"/>
              <a:gd name="connsiteY0" fmla="*/ 50777 h 137345"/>
              <a:gd name="connsiteX1" fmla="*/ 200696 w 255848"/>
              <a:gd name="connsiteY1" fmla="*/ 52446 h 137345"/>
              <a:gd name="connsiteX2" fmla="*/ 136529 w 255848"/>
              <a:gd name="connsiteY2" fmla="*/ 0 h 137345"/>
              <a:gd name="connsiteX3" fmla="*/ 74922 w 255848"/>
              <a:gd name="connsiteY3" fmla="*/ 43285 h 137345"/>
              <a:gd name="connsiteX4" fmla="*/ 50257 w 255848"/>
              <a:gd name="connsiteY4" fmla="*/ 36831 h 137345"/>
              <a:gd name="connsiteX5" fmla="*/ 0 w 255848"/>
              <a:gd name="connsiteY5" fmla="*/ 87088 h 137345"/>
              <a:gd name="connsiteX6" fmla="*/ 49330 w 255848"/>
              <a:gd name="connsiteY6" fmla="*/ 137346 h 137345"/>
              <a:gd name="connsiteX7" fmla="*/ 49330 w 255848"/>
              <a:gd name="connsiteY7" fmla="*/ 137346 h 137345"/>
              <a:gd name="connsiteX8" fmla="*/ 212119 w 255848"/>
              <a:gd name="connsiteY8" fmla="*/ 137346 h 137345"/>
              <a:gd name="connsiteX9" fmla="*/ 212119 w 255848"/>
              <a:gd name="connsiteY9" fmla="*/ 137346 h 137345"/>
              <a:gd name="connsiteX10" fmla="*/ 212564 w 255848"/>
              <a:gd name="connsiteY10" fmla="*/ 137346 h 137345"/>
              <a:gd name="connsiteX11" fmla="*/ 255849 w 255848"/>
              <a:gd name="connsiteY11" fmla="*/ 94061 h 137345"/>
              <a:gd name="connsiteX12" fmla="*/ 212564 w 255848"/>
              <a:gd name="connsiteY12" fmla="*/ 50777 h 137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55848" h="137345">
                <a:moveTo>
                  <a:pt x="212564" y="50777"/>
                </a:moveTo>
                <a:cubicBezTo>
                  <a:pt x="208447" y="50777"/>
                  <a:pt x="204479" y="51370"/>
                  <a:pt x="200696" y="52446"/>
                </a:cubicBezTo>
                <a:cubicBezTo>
                  <a:pt x="194650" y="22551"/>
                  <a:pt x="168205" y="0"/>
                  <a:pt x="136529" y="0"/>
                </a:cubicBezTo>
                <a:cubicBezTo>
                  <a:pt x="108155" y="0"/>
                  <a:pt x="84010" y="18063"/>
                  <a:pt x="74922" y="43285"/>
                </a:cubicBezTo>
                <a:cubicBezTo>
                  <a:pt x="67653" y="39167"/>
                  <a:pt x="59233" y="36831"/>
                  <a:pt x="50257" y="36831"/>
                </a:cubicBezTo>
                <a:cubicBezTo>
                  <a:pt x="22476" y="36831"/>
                  <a:pt x="0" y="59345"/>
                  <a:pt x="0" y="87088"/>
                </a:cubicBezTo>
                <a:cubicBezTo>
                  <a:pt x="0" y="114832"/>
                  <a:pt x="21994" y="136826"/>
                  <a:pt x="49330" y="137346"/>
                </a:cubicBezTo>
                <a:lnTo>
                  <a:pt x="49330" y="137346"/>
                </a:lnTo>
                <a:cubicBezTo>
                  <a:pt x="49330" y="137346"/>
                  <a:pt x="212119" y="137346"/>
                  <a:pt x="212119" y="137346"/>
                </a:cubicBezTo>
                <a:lnTo>
                  <a:pt x="212119" y="137346"/>
                </a:lnTo>
                <a:cubicBezTo>
                  <a:pt x="212119" y="137346"/>
                  <a:pt x="212416" y="137346"/>
                  <a:pt x="212564" y="137346"/>
                </a:cubicBezTo>
                <a:cubicBezTo>
                  <a:pt x="236488" y="137346"/>
                  <a:pt x="255849" y="117947"/>
                  <a:pt x="255849" y="94061"/>
                </a:cubicBezTo>
                <a:cubicBezTo>
                  <a:pt x="255849" y="70175"/>
                  <a:pt x="236451" y="50777"/>
                  <a:pt x="212564" y="50777"/>
                </a:cubicBezTo>
              </a:path>
            </a:pathLst>
          </a:custGeom>
          <a:solidFill>
            <a:srgbClr val="BAE5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92D97C22-C2B1-A627-594A-7B66B7DAEC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96863"/>
            <a:ext cx="8784357" cy="503845"/>
          </a:xfrm>
        </p:spPr>
        <p:txBody>
          <a:bodyPr vert="horz"/>
          <a:lstStyle/>
          <a:p>
            <a:r>
              <a:rPr lang="de-DE"/>
              <a:t>Ihr Weg ins Glasfaserland</a:t>
            </a: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9D354983-614A-28F9-08D7-18AAD62093C5}"/>
              </a:ext>
            </a:extLst>
          </p:cNvPr>
          <p:cNvSpPr txBox="1">
            <a:spLocks/>
          </p:cNvSpPr>
          <p:nvPr/>
        </p:nvSpPr>
        <p:spPr>
          <a:xfrm>
            <a:off x="800520" y="1905000"/>
            <a:ext cx="5008143" cy="370629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Aft>
                <a:spcPts val="800"/>
              </a:spcAft>
              <a:buNone/>
            </a:pPr>
            <a:r>
              <a:rPr lang="de-DE" dirty="0">
                <a:latin typeface="+mj-lt"/>
              </a:rPr>
              <a:t>Gigabitfähige Zukunftstechnologie</a:t>
            </a:r>
          </a:p>
          <a:p>
            <a:pPr marL="0" lvl="2" indent="0">
              <a:spcAft>
                <a:spcPts val="800"/>
              </a:spcAft>
              <a:buNone/>
            </a:pPr>
            <a:r>
              <a:rPr lang="de-DE" sz="1400" dirty="0">
                <a:latin typeface="+mj-lt"/>
              </a:rPr>
              <a:t>Ausbauvariante FTTB</a:t>
            </a:r>
            <a:br>
              <a:rPr lang="de-DE" sz="1400" b="1" dirty="0"/>
            </a:br>
            <a:r>
              <a:rPr lang="de-DE" sz="1400" dirty="0"/>
              <a:t>(Fiber </a:t>
            </a:r>
            <a:r>
              <a:rPr lang="de-DE" sz="1400" dirty="0" err="1"/>
              <a:t>to</a:t>
            </a:r>
            <a:r>
              <a:rPr lang="de-DE" sz="1400" dirty="0"/>
              <a:t> </a:t>
            </a:r>
            <a:r>
              <a:rPr lang="de-DE" sz="1400" dirty="0" err="1"/>
              <a:t>the</a:t>
            </a:r>
            <a:r>
              <a:rPr lang="de-DE" sz="1400" dirty="0"/>
              <a:t> Building) Glasfaserkabel bis ins Gebäude</a:t>
            </a:r>
          </a:p>
          <a:p>
            <a:pPr marL="0" lvl="2" indent="0">
              <a:spcAft>
                <a:spcPts val="0"/>
              </a:spcAft>
              <a:buNone/>
            </a:pPr>
            <a:r>
              <a:rPr lang="de-DE" sz="1400" dirty="0">
                <a:latin typeface="+mj-lt"/>
              </a:rPr>
              <a:t>Internet-Bandbreiten </a:t>
            </a:r>
          </a:p>
          <a:p>
            <a:pPr marL="177800" lvl="2" indent="-177800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1673225" algn="l"/>
              </a:tabLst>
            </a:pPr>
            <a:r>
              <a:rPr lang="de-DE" sz="1400" dirty="0"/>
              <a:t>Privatkunden:	bis zu 1000 Mbit/s </a:t>
            </a:r>
          </a:p>
          <a:p>
            <a:pPr marL="177800" lvl="2" indent="-177800"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1673225" algn="l"/>
              </a:tabLst>
            </a:pPr>
            <a:r>
              <a:rPr lang="de-DE" sz="1400" dirty="0"/>
              <a:t>Geschäftskunden:	bis zu 10 Gbit/s</a:t>
            </a:r>
            <a:br>
              <a:rPr lang="de-DE" dirty="0"/>
            </a:br>
            <a:endParaRPr lang="de-DE" dirty="0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B217CBB3-9823-E26D-6C6E-865D02391CF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07988" y="1881188"/>
            <a:ext cx="285750" cy="285750"/>
          </a:xfrm>
          <a:prstGeom prst="rect">
            <a:avLst/>
          </a:prstGeom>
        </p:spPr>
      </p:pic>
      <p:pic>
        <p:nvPicPr>
          <p:cNvPr id="26" name="Grafik 25">
            <a:extLst>
              <a:ext uri="{FF2B5EF4-FFF2-40B4-BE49-F238E27FC236}">
                <a16:creationId xmlns:a16="http://schemas.microsoft.com/office/drawing/2014/main" id="{199A74A7-0EAB-71F2-4E85-C23E9AA3A1A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89268" y="1881188"/>
            <a:ext cx="285750" cy="285750"/>
          </a:xfrm>
          <a:prstGeom prst="rect">
            <a:avLst/>
          </a:prstGeom>
        </p:spPr>
      </p:pic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3D72EF55-CB21-4916-C14A-1DC8EE8A92F3}"/>
              </a:ext>
            </a:extLst>
          </p:cNvPr>
          <p:cNvSpPr txBox="1">
            <a:spLocks/>
          </p:cNvSpPr>
          <p:nvPr/>
        </p:nvSpPr>
        <p:spPr>
          <a:xfrm>
            <a:off x="6781800" y="1905000"/>
            <a:ext cx="5002213" cy="37062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>
              <a:spcAft>
                <a:spcPts val="800"/>
              </a:spcAft>
              <a:buNone/>
            </a:pPr>
            <a:r>
              <a:rPr lang="de-DE">
                <a:latin typeface="+mj-lt"/>
              </a:rPr>
              <a:t>Brückentechnologie</a:t>
            </a:r>
          </a:p>
          <a:p>
            <a:pPr marL="0" lvl="2" indent="0">
              <a:spcAft>
                <a:spcPts val="800"/>
              </a:spcAft>
              <a:buNone/>
            </a:pPr>
            <a:r>
              <a:rPr lang="de-DE" sz="1400">
                <a:latin typeface="+mj-lt"/>
              </a:rPr>
              <a:t>Ausbauvariante FTTC</a:t>
            </a:r>
            <a:br>
              <a:rPr lang="de-DE" sz="1400" b="1"/>
            </a:br>
            <a:r>
              <a:rPr lang="de-DE" sz="1400"/>
              <a:t>(Fiber </a:t>
            </a:r>
            <a:r>
              <a:rPr lang="de-DE" sz="1400" err="1"/>
              <a:t>to</a:t>
            </a:r>
            <a:r>
              <a:rPr lang="de-DE" sz="1400"/>
              <a:t> </a:t>
            </a:r>
            <a:r>
              <a:rPr lang="de-DE" sz="1400" err="1"/>
              <a:t>the</a:t>
            </a:r>
            <a:r>
              <a:rPr lang="de-DE" sz="1400"/>
              <a:t> </a:t>
            </a:r>
            <a:r>
              <a:rPr lang="de-DE" sz="1400" err="1"/>
              <a:t>Curb</a:t>
            </a:r>
            <a:r>
              <a:rPr lang="de-DE" sz="1400"/>
              <a:t>) Glasfaserkabel bis zum Verteiler (KVz)</a:t>
            </a:r>
          </a:p>
          <a:p>
            <a:pPr marL="0" lvl="2" indent="0">
              <a:spcAft>
                <a:spcPts val="800"/>
              </a:spcAft>
              <a:buNone/>
            </a:pPr>
            <a:r>
              <a:rPr lang="de-DE" sz="1400">
                <a:latin typeface="+mj-lt"/>
              </a:rPr>
              <a:t>Internet-Bandbreiten</a:t>
            </a:r>
            <a:br>
              <a:rPr lang="de-DE" sz="1400" b="1"/>
            </a:br>
            <a:r>
              <a:rPr lang="de-DE" sz="1400"/>
              <a:t>max. 50 Mbit/s</a:t>
            </a:r>
            <a:br>
              <a:rPr lang="de-DE" sz="1400"/>
            </a:br>
            <a:endParaRPr lang="de-DE" sz="1400"/>
          </a:p>
        </p:txBody>
      </p:sp>
      <p:sp>
        <p:nvSpPr>
          <p:cNvPr id="35" name="Freihandform: Form 34">
            <a:extLst>
              <a:ext uri="{FF2B5EF4-FFF2-40B4-BE49-F238E27FC236}">
                <a16:creationId xmlns:a16="http://schemas.microsoft.com/office/drawing/2014/main" id="{D0C76D46-5B2D-41AA-FED7-B9D7B64BA730}"/>
              </a:ext>
            </a:extLst>
          </p:cNvPr>
          <p:cNvSpPr/>
          <p:nvPr/>
        </p:nvSpPr>
        <p:spPr>
          <a:xfrm flipH="1">
            <a:off x="2899819" y="6111396"/>
            <a:ext cx="3043781" cy="303052"/>
          </a:xfrm>
          <a:custGeom>
            <a:avLst/>
            <a:gdLst>
              <a:gd name="connsiteX0" fmla="*/ 2258468 w 3043781"/>
              <a:gd name="connsiteY0" fmla="*/ 0 h 303052"/>
              <a:gd name="connsiteX1" fmla="*/ 2385078 w 3043781"/>
              <a:gd name="connsiteY1" fmla="*/ 0 h 303052"/>
              <a:gd name="connsiteX2" fmla="*/ 2385078 w 3043781"/>
              <a:gd name="connsiteY2" fmla="*/ 148030 h 303052"/>
              <a:gd name="connsiteX3" fmla="*/ 2413781 w 3043781"/>
              <a:gd name="connsiteY3" fmla="*/ 176733 h 303052"/>
              <a:gd name="connsiteX4" fmla="*/ 3043490 w 3043781"/>
              <a:gd name="connsiteY4" fmla="*/ 176733 h 303052"/>
              <a:gd name="connsiteX5" fmla="*/ 3043490 w 3043781"/>
              <a:gd name="connsiteY5" fmla="*/ 302907 h 303052"/>
              <a:gd name="connsiteX6" fmla="*/ 3043781 w 3043781"/>
              <a:gd name="connsiteY6" fmla="*/ 303052 h 303052"/>
              <a:gd name="connsiteX7" fmla="*/ 2414076 w 3043781"/>
              <a:gd name="connsiteY7" fmla="*/ 303052 h 303052"/>
              <a:gd name="connsiteX8" fmla="*/ 2321991 w 3043781"/>
              <a:gd name="connsiteY8" fmla="*/ 272456 h 303052"/>
              <a:gd name="connsiteX9" fmla="*/ 2229910 w 3043781"/>
              <a:gd name="connsiteY9" fmla="*/ 303052 h 303052"/>
              <a:gd name="connsiteX10" fmla="*/ 1645662 w 3043781"/>
              <a:gd name="connsiteY10" fmla="*/ 303052 h 303052"/>
              <a:gd name="connsiteX11" fmla="*/ 0 w 3043781"/>
              <a:gd name="connsiteY11" fmla="*/ 303052 h 303052"/>
              <a:gd name="connsiteX12" fmla="*/ 0 w 3043781"/>
              <a:gd name="connsiteY12" fmla="*/ 176733 h 303052"/>
              <a:gd name="connsiteX13" fmla="*/ 564250 w 3043781"/>
              <a:gd name="connsiteY13" fmla="*/ 176733 h 303052"/>
              <a:gd name="connsiteX14" fmla="*/ 1600205 w 3043781"/>
              <a:gd name="connsiteY14" fmla="*/ 176733 h 303052"/>
              <a:gd name="connsiteX15" fmla="*/ 2229764 w 3043781"/>
              <a:gd name="connsiteY15" fmla="*/ 176733 h 303052"/>
              <a:gd name="connsiteX16" fmla="*/ 2258468 w 3043781"/>
              <a:gd name="connsiteY16" fmla="*/ 148030 h 3030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3043781" h="303052">
                <a:moveTo>
                  <a:pt x="2258468" y="0"/>
                </a:moveTo>
                <a:lnTo>
                  <a:pt x="2385078" y="0"/>
                </a:lnTo>
                <a:lnTo>
                  <a:pt x="2385078" y="148030"/>
                </a:lnTo>
                <a:cubicBezTo>
                  <a:pt x="2385078" y="163912"/>
                  <a:pt x="2397899" y="176733"/>
                  <a:pt x="2413781" y="176733"/>
                </a:cubicBezTo>
                <a:lnTo>
                  <a:pt x="3043490" y="176733"/>
                </a:lnTo>
                <a:lnTo>
                  <a:pt x="3043490" y="302907"/>
                </a:lnTo>
                <a:lnTo>
                  <a:pt x="3043781" y="303052"/>
                </a:lnTo>
                <a:lnTo>
                  <a:pt x="2414076" y="303052"/>
                </a:lnTo>
                <a:cubicBezTo>
                  <a:pt x="2379542" y="303052"/>
                  <a:pt x="2347779" y="291543"/>
                  <a:pt x="2321991" y="272456"/>
                </a:cubicBezTo>
                <a:cubicBezTo>
                  <a:pt x="2296202" y="291543"/>
                  <a:pt x="2264443" y="303052"/>
                  <a:pt x="2229910" y="303052"/>
                </a:cubicBezTo>
                <a:cubicBezTo>
                  <a:pt x="2229910" y="303052"/>
                  <a:pt x="1645662" y="303052"/>
                  <a:pt x="1645662" y="303052"/>
                </a:cubicBezTo>
                <a:lnTo>
                  <a:pt x="0" y="303052"/>
                </a:lnTo>
                <a:lnTo>
                  <a:pt x="0" y="176733"/>
                </a:lnTo>
                <a:lnTo>
                  <a:pt x="564250" y="176733"/>
                </a:lnTo>
                <a:cubicBezTo>
                  <a:pt x="1139781" y="176733"/>
                  <a:pt x="1600205" y="176733"/>
                  <a:pt x="1600205" y="176733"/>
                </a:cubicBezTo>
                <a:lnTo>
                  <a:pt x="2229764" y="176733"/>
                </a:lnTo>
                <a:cubicBezTo>
                  <a:pt x="2245501" y="176733"/>
                  <a:pt x="2258468" y="163912"/>
                  <a:pt x="2258468" y="148030"/>
                </a:cubicBezTo>
                <a:close/>
              </a:path>
            </a:pathLst>
          </a:custGeom>
          <a:solidFill>
            <a:srgbClr val="424242"/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37" name="Freihandform: Form 36">
            <a:extLst>
              <a:ext uri="{FF2B5EF4-FFF2-40B4-BE49-F238E27FC236}">
                <a16:creationId xmlns:a16="http://schemas.microsoft.com/office/drawing/2014/main" id="{13417957-E089-ABDD-D862-9AE8BFB9D227}"/>
              </a:ext>
            </a:extLst>
          </p:cNvPr>
          <p:cNvSpPr/>
          <p:nvPr/>
        </p:nvSpPr>
        <p:spPr>
          <a:xfrm flipH="1">
            <a:off x="2899819" y="6111396"/>
            <a:ext cx="3043486" cy="266776"/>
          </a:xfrm>
          <a:custGeom>
            <a:avLst/>
            <a:gdLst>
              <a:gd name="connsiteX0" fmla="*/ 2294454 w 3043486"/>
              <a:gd name="connsiteY0" fmla="*/ 0 h 266776"/>
              <a:gd name="connsiteX1" fmla="*/ 2348946 w 3043486"/>
              <a:gd name="connsiteY1" fmla="*/ 0 h 266776"/>
              <a:gd name="connsiteX2" fmla="*/ 2348946 w 3043486"/>
              <a:gd name="connsiteY2" fmla="*/ 147885 h 266776"/>
              <a:gd name="connsiteX3" fmla="*/ 2413780 w 3043486"/>
              <a:gd name="connsiteY3" fmla="*/ 212720 h 266776"/>
              <a:gd name="connsiteX4" fmla="*/ 3043486 w 3043486"/>
              <a:gd name="connsiteY4" fmla="*/ 212720 h 266776"/>
              <a:gd name="connsiteX5" fmla="*/ 3043486 w 3043486"/>
              <a:gd name="connsiteY5" fmla="*/ 266776 h 266776"/>
              <a:gd name="connsiteX6" fmla="*/ 2413780 w 3043486"/>
              <a:gd name="connsiteY6" fmla="*/ 266776 h 266776"/>
              <a:gd name="connsiteX7" fmla="*/ 2321700 w 3043486"/>
              <a:gd name="connsiteY7" fmla="*/ 222191 h 266776"/>
              <a:gd name="connsiteX8" fmla="*/ 2229619 w 3043486"/>
              <a:gd name="connsiteY8" fmla="*/ 266776 h 266776"/>
              <a:gd name="connsiteX9" fmla="*/ 1645370 w 3043486"/>
              <a:gd name="connsiteY9" fmla="*/ 266776 h 266776"/>
              <a:gd name="connsiteX10" fmla="*/ 0 w 3043486"/>
              <a:gd name="connsiteY10" fmla="*/ 266776 h 266776"/>
              <a:gd name="connsiteX11" fmla="*/ 0 w 3043486"/>
              <a:gd name="connsiteY11" fmla="*/ 212720 h 266776"/>
              <a:gd name="connsiteX12" fmla="*/ 564104 w 3043486"/>
              <a:gd name="connsiteY12" fmla="*/ 212720 h 266776"/>
              <a:gd name="connsiteX13" fmla="*/ 1600059 w 3043486"/>
              <a:gd name="connsiteY13" fmla="*/ 212720 h 266776"/>
              <a:gd name="connsiteX14" fmla="*/ 2229619 w 3043486"/>
              <a:gd name="connsiteY14" fmla="*/ 212720 h 266776"/>
              <a:gd name="connsiteX15" fmla="*/ 2294454 w 3043486"/>
              <a:gd name="connsiteY15" fmla="*/ 147885 h 2667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3043486" h="266776">
                <a:moveTo>
                  <a:pt x="2294454" y="0"/>
                </a:moveTo>
                <a:lnTo>
                  <a:pt x="2348946" y="0"/>
                </a:lnTo>
                <a:lnTo>
                  <a:pt x="2348946" y="147885"/>
                </a:lnTo>
                <a:cubicBezTo>
                  <a:pt x="2348946" y="183581"/>
                  <a:pt x="2378085" y="212720"/>
                  <a:pt x="2413780" y="212720"/>
                </a:cubicBezTo>
                <a:lnTo>
                  <a:pt x="3043486" y="212720"/>
                </a:lnTo>
                <a:lnTo>
                  <a:pt x="3043486" y="266776"/>
                </a:lnTo>
                <a:lnTo>
                  <a:pt x="2413780" y="266776"/>
                </a:lnTo>
                <a:cubicBezTo>
                  <a:pt x="2376482" y="266776"/>
                  <a:pt x="2343552" y="249146"/>
                  <a:pt x="2321700" y="222191"/>
                </a:cubicBezTo>
                <a:cubicBezTo>
                  <a:pt x="2299843" y="249146"/>
                  <a:pt x="2266917" y="266776"/>
                  <a:pt x="2229619" y="266776"/>
                </a:cubicBezTo>
                <a:cubicBezTo>
                  <a:pt x="2229619" y="266776"/>
                  <a:pt x="1645370" y="266776"/>
                  <a:pt x="1645370" y="266776"/>
                </a:cubicBezTo>
                <a:lnTo>
                  <a:pt x="0" y="266776"/>
                </a:lnTo>
                <a:lnTo>
                  <a:pt x="0" y="212720"/>
                </a:lnTo>
                <a:lnTo>
                  <a:pt x="564104" y="212720"/>
                </a:lnTo>
                <a:cubicBezTo>
                  <a:pt x="1139635" y="212720"/>
                  <a:pt x="1600059" y="212720"/>
                  <a:pt x="1600059" y="212720"/>
                </a:cubicBezTo>
                <a:lnTo>
                  <a:pt x="2229619" y="212720"/>
                </a:lnTo>
                <a:cubicBezTo>
                  <a:pt x="2265314" y="212720"/>
                  <a:pt x="2294454" y="183581"/>
                  <a:pt x="2294454" y="147885"/>
                </a:cubicBezTo>
                <a:close/>
              </a:path>
            </a:pathLst>
          </a:custGeom>
          <a:solidFill>
            <a:srgbClr val="FC6538"/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1017CD29-B7AF-A37B-EFF3-828C1C214F0C}"/>
              </a:ext>
            </a:extLst>
          </p:cNvPr>
          <p:cNvSpPr/>
          <p:nvPr/>
        </p:nvSpPr>
        <p:spPr>
          <a:xfrm>
            <a:off x="3440362" y="5867400"/>
            <a:ext cx="360455" cy="244334"/>
          </a:xfrm>
          <a:custGeom>
            <a:avLst/>
            <a:gdLst>
              <a:gd name="connsiteX0" fmla="*/ 0 w 91761"/>
              <a:gd name="connsiteY0" fmla="*/ 0 h 62200"/>
              <a:gd name="connsiteX1" fmla="*/ 91761 w 91761"/>
              <a:gd name="connsiteY1" fmla="*/ 0 h 62200"/>
              <a:gd name="connsiteX2" fmla="*/ 91761 w 91761"/>
              <a:gd name="connsiteY2" fmla="*/ 62201 h 62200"/>
              <a:gd name="connsiteX3" fmla="*/ 0 w 91761"/>
              <a:gd name="connsiteY3" fmla="*/ 62201 h 62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761" h="62200">
                <a:moveTo>
                  <a:pt x="0" y="0"/>
                </a:moveTo>
                <a:lnTo>
                  <a:pt x="91761" y="0"/>
                </a:lnTo>
                <a:lnTo>
                  <a:pt x="91761" y="62201"/>
                </a:lnTo>
                <a:lnTo>
                  <a:pt x="0" y="62201"/>
                </a:lnTo>
                <a:close/>
              </a:path>
            </a:pathLst>
          </a:custGeom>
          <a:solidFill>
            <a:schemeClr val="bg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0" name="Freihandform: Form 19">
            <a:extLst>
              <a:ext uri="{FF2B5EF4-FFF2-40B4-BE49-F238E27FC236}">
                <a16:creationId xmlns:a16="http://schemas.microsoft.com/office/drawing/2014/main" id="{F626561C-A277-2327-5113-54AEEACEA203}"/>
              </a:ext>
            </a:extLst>
          </p:cNvPr>
          <p:cNvSpPr/>
          <p:nvPr/>
        </p:nvSpPr>
        <p:spPr>
          <a:xfrm>
            <a:off x="11058525" y="5867400"/>
            <a:ext cx="360455" cy="244334"/>
          </a:xfrm>
          <a:custGeom>
            <a:avLst/>
            <a:gdLst>
              <a:gd name="connsiteX0" fmla="*/ 0 w 91761"/>
              <a:gd name="connsiteY0" fmla="*/ 0 h 62200"/>
              <a:gd name="connsiteX1" fmla="*/ 91761 w 91761"/>
              <a:gd name="connsiteY1" fmla="*/ 0 h 62200"/>
              <a:gd name="connsiteX2" fmla="*/ 91761 w 91761"/>
              <a:gd name="connsiteY2" fmla="*/ 62201 h 62200"/>
              <a:gd name="connsiteX3" fmla="*/ 0 w 91761"/>
              <a:gd name="connsiteY3" fmla="*/ 62201 h 62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761" h="62200">
                <a:moveTo>
                  <a:pt x="0" y="0"/>
                </a:moveTo>
                <a:lnTo>
                  <a:pt x="91761" y="0"/>
                </a:lnTo>
                <a:lnTo>
                  <a:pt x="91761" y="62201"/>
                </a:lnTo>
                <a:lnTo>
                  <a:pt x="0" y="62201"/>
                </a:lnTo>
                <a:close/>
              </a:path>
            </a:pathLst>
          </a:custGeom>
          <a:solidFill>
            <a:schemeClr val="bg2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3430FE07-B6CF-0B8B-4DDB-0774BB411E0B}"/>
              </a:ext>
            </a:extLst>
          </p:cNvPr>
          <p:cNvGrpSpPr/>
          <p:nvPr/>
        </p:nvGrpSpPr>
        <p:grpSpPr>
          <a:xfrm rot="16200000">
            <a:off x="3472693" y="5687086"/>
            <a:ext cx="295792" cy="64835"/>
            <a:chOff x="6725972" y="6019227"/>
            <a:chExt cx="295792" cy="64835"/>
          </a:xfrm>
        </p:grpSpPr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110CC2FB-BE39-464D-5EF9-D6FA0D241037}"/>
                </a:ext>
              </a:extLst>
            </p:cNvPr>
            <p:cNvSpPr/>
            <p:nvPr/>
          </p:nvSpPr>
          <p:spPr>
            <a:xfrm>
              <a:off x="6930387" y="6019517"/>
              <a:ext cx="75614" cy="32195"/>
            </a:xfrm>
            <a:custGeom>
              <a:avLst/>
              <a:gdLst>
                <a:gd name="connsiteX0" fmla="*/ 0 w 19249"/>
                <a:gd name="connsiteY0" fmla="*/ 0 h 8196"/>
                <a:gd name="connsiteX1" fmla="*/ 19250 w 19249"/>
                <a:gd name="connsiteY1" fmla="*/ 0 h 8196"/>
                <a:gd name="connsiteX2" fmla="*/ 19250 w 19249"/>
                <a:gd name="connsiteY2" fmla="*/ 8197 h 8196"/>
                <a:gd name="connsiteX3" fmla="*/ 0 w 19249"/>
                <a:gd name="connsiteY3" fmla="*/ 8197 h 8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49" h="8196">
                  <a:moveTo>
                    <a:pt x="0" y="0"/>
                  </a:moveTo>
                  <a:lnTo>
                    <a:pt x="19250" y="0"/>
                  </a:lnTo>
                  <a:lnTo>
                    <a:pt x="19250" y="8197"/>
                  </a:lnTo>
                  <a:lnTo>
                    <a:pt x="0" y="8197"/>
                  </a:lnTo>
                  <a:close/>
                </a:path>
              </a:pathLst>
            </a:custGeom>
            <a:solidFill>
              <a:srgbClr val="FDC83A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98898F6F-2862-CB64-CA9B-DE11C33E5E31}"/>
                </a:ext>
              </a:extLst>
            </p:cNvPr>
            <p:cNvSpPr/>
            <p:nvPr/>
          </p:nvSpPr>
          <p:spPr>
            <a:xfrm>
              <a:off x="6928639" y="6051717"/>
              <a:ext cx="77362" cy="32195"/>
            </a:xfrm>
            <a:custGeom>
              <a:avLst/>
              <a:gdLst>
                <a:gd name="connsiteX0" fmla="*/ 0 w 19694"/>
                <a:gd name="connsiteY0" fmla="*/ 0 h 8196"/>
                <a:gd name="connsiteX1" fmla="*/ 19695 w 19694"/>
                <a:gd name="connsiteY1" fmla="*/ 0 h 8196"/>
                <a:gd name="connsiteX2" fmla="*/ 19695 w 19694"/>
                <a:gd name="connsiteY2" fmla="*/ 8197 h 8196"/>
                <a:gd name="connsiteX3" fmla="*/ 0 w 19694"/>
                <a:gd name="connsiteY3" fmla="*/ 8197 h 8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94" h="8196">
                  <a:moveTo>
                    <a:pt x="0" y="0"/>
                  </a:moveTo>
                  <a:lnTo>
                    <a:pt x="19695" y="0"/>
                  </a:lnTo>
                  <a:lnTo>
                    <a:pt x="19695" y="8197"/>
                  </a:lnTo>
                  <a:lnTo>
                    <a:pt x="0" y="8197"/>
                  </a:lnTo>
                  <a:close/>
                </a:path>
              </a:pathLst>
            </a:custGeom>
            <a:solidFill>
              <a:srgbClr val="1195E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AB3423A4-C7EB-6136-2A40-23799594F4D1}"/>
                </a:ext>
              </a:extLst>
            </p:cNvPr>
            <p:cNvSpPr/>
            <p:nvPr/>
          </p:nvSpPr>
          <p:spPr>
            <a:xfrm>
              <a:off x="6923104" y="6035544"/>
              <a:ext cx="54343" cy="32195"/>
            </a:xfrm>
            <a:custGeom>
              <a:avLst/>
              <a:gdLst>
                <a:gd name="connsiteX0" fmla="*/ 0 w 13834"/>
                <a:gd name="connsiteY0" fmla="*/ 0 h 8196"/>
                <a:gd name="connsiteX1" fmla="*/ 13835 w 13834"/>
                <a:gd name="connsiteY1" fmla="*/ 0 h 8196"/>
                <a:gd name="connsiteX2" fmla="*/ 13835 w 13834"/>
                <a:gd name="connsiteY2" fmla="*/ 8197 h 8196"/>
                <a:gd name="connsiteX3" fmla="*/ 0 w 13834"/>
                <a:gd name="connsiteY3" fmla="*/ 8197 h 8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34" h="8196">
                  <a:moveTo>
                    <a:pt x="0" y="0"/>
                  </a:moveTo>
                  <a:lnTo>
                    <a:pt x="13835" y="0"/>
                  </a:lnTo>
                  <a:lnTo>
                    <a:pt x="13835" y="8197"/>
                  </a:lnTo>
                  <a:lnTo>
                    <a:pt x="0" y="8197"/>
                  </a:lnTo>
                  <a:close/>
                </a:path>
              </a:pathLst>
            </a:custGeom>
            <a:solidFill>
              <a:srgbClr val="00024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F1AD231C-AF4A-54D6-DBE3-4B94EDF78B8A}"/>
                </a:ext>
              </a:extLst>
            </p:cNvPr>
            <p:cNvSpPr/>
            <p:nvPr/>
          </p:nvSpPr>
          <p:spPr>
            <a:xfrm>
              <a:off x="6967685" y="6041810"/>
              <a:ext cx="20395" cy="20395"/>
            </a:xfrm>
            <a:custGeom>
              <a:avLst/>
              <a:gdLst>
                <a:gd name="connsiteX0" fmla="*/ 5193 w 5192"/>
                <a:gd name="connsiteY0" fmla="*/ 2597 h 5192"/>
                <a:gd name="connsiteX1" fmla="*/ 2597 w 5192"/>
                <a:gd name="connsiteY1" fmla="*/ 5193 h 5192"/>
                <a:gd name="connsiteX2" fmla="*/ 0 w 5192"/>
                <a:gd name="connsiteY2" fmla="*/ 2597 h 5192"/>
                <a:gd name="connsiteX3" fmla="*/ 2597 w 5192"/>
                <a:gd name="connsiteY3" fmla="*/ 0 h 5192"/>
                <a:gd name="connsiteX4" fmla="*/ 5193 w 5192"/>
                <a:gd name="connsiteY4" fmla="*/ 2597 h 5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92" h="5192">
                  <a:moveTo>
                    <a:pt x="5193" y="2597"/>
                  </a:moveTo>
                  <a:cubicBezTo>
                    <a:pt x="5193" y="4043"/>
                    <a:pt x="4043" y="5193"/>
                    <a:pt x="2597" y="5193"/>
                  </a:cubicBezTo>
                  <a:cubicBezTo>
                    <a:pt x="1150" y="5193"/>
                    <a:pt x="0" y="4043"/>
                    <a:pt x="0" y="2597"/>
                  </a:cubicBezTo>
                  <a:cubicBezTo>
                    <a:pt x="0" y="1150"/>
                    <a:pt x="1150" y="0"/>
                    <a:pt x="2597" y="0"/>
                  </a:cubicBezTo>
                  <a:cubicBezTo>
                    <a:pt x="4043" y="0"/>
                    <a:pt x="5193" y="1150"/>
                    <a:pt x="5193" y="2597"/>
                  </a:cubicBezTo>
                </a:path>
              </a:pathLst>
            </a:custGeom>
            <a:solidFill>
              <a:srgbClr val="FEFEF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A52C1B72-A9D3-FCE5-C14B-D7303AE21D4C}"/>
                </a:ext>
              </a:extLst>
            </p:cNvPr>
            <p:cNvSpPr/>
            <p:nvPr/>
          </p:nvSpPr>
          <p:spPr>
            <a:xfrm>
              <a:off x="6961569" y="6035690"/>
              <a:ext cx="32195" cy="32341"/>
            </a:xfrm>
            <a:custGeom>
              <a:avLst/>
              <a:gdLst>
                <a:gd name="connsiteX0" fmla="*/ 4117 w 8196"/>
                <a:gd name="connsiteY0" fmla="*/ 0 h 8233"/>
                <a:gd name="connsiteX1" fmla="*/ 0 w 8196"/>
                <a:gd name="connsiteY1" fmla="*/ 4117 h 8233"/>
                <a:gd name="connsiteX2" fmla="*/ 4117 w 8196"/>
                <a:gd name="connsiteY2" fmla="*/ 8234 h 8233"/>
                <a:gd name="connsiteX3" fmla="*/ 8197 w 8196"/>
                <a:gd name="connsiteY3" fmla="*/ 4117 h 8233"/>
                <a:gd name="connsiteX4" fmla="*/ 4117 w 8196"/>
                <a:gd name="connsiteY4" fmla="*/ 0 h 8233"/>
                <a:gd name="connsiteX5" fmla="*/ 4117 w 8196"/>
                <a:gd name="connsiteY5" fmla="*/ 1855 h 8233"/>
                <a:gd name="connsiteX6" fmla="*/ 6342 w 8196"/>
                <a:gd name="connsiteY6" fmla="*/ 4080 h 8233"/>
                <a:gd name="connsiteX7" fmla="*/ 4117 w 8196"/>
                <a:gd name="connsiteY7" fmla="*/ 6305 h 8233"/>
                <a:gd name="connsiteX8" fmla="*/ 1892 w 8196"/>
                <a:gd name="connsiteY8" fmla="*/ 4080 h 8233"/>
                <a:gd name="connsiteX9" fmla="*/ 4117 w 8196"/>
                <a:gd name="connsiteY9" fmla="*/ 1855 h 8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96" h="8233">
                  <a:moveTo>
                    <a:pt x="4117" y="0"/>
                  </a:moveTo>
                  <a:cubicBezTo>
                    <a:pt x="1855" y="0"/>
                    <a:pt x="0" y="1855"/>
                    <a:pt x="0" y="4117"/>
                  </a:cubicBezTo>
                  <a:cubicBezTo>
                    <a:pt x="0" y="6379"/>
                    <a:pt x="1817" y="8234"/>
                    <a:pt x="4117" y="8234"/>
                  </a:cubicBezTo>
                  <a:cubicBezTo>
                    <a:pt x="6417" y="8234"/>
                    <a:pt x="8197" y="6379"/>
                    <a:pt x="8197" y="4117"/>
                  </a:cubicBezTo>
                  <a:cubicBezTo>
                    <a:pt x="8197" y="1855"/>
                    <a:pt x="6342" y="0"/>
                    <a:pt x="4117" y="0"/>
                  </a:cubicBezTo>
                  <a:moveTo>
                    <a:pt x="4117" y="1855"/>
                  </a:moveTo>
                  <a:cubicBezTo>
                    <a:pt x="5341" y="1855"/>
                    <a:pt x="6342" y="2856"/>
                    <a:pt x="6342" y="4080"/>
                  </a:cubicBezTo>
                  <a:cubicBezTo>
                    <a:pt x="6342" y="5304"/>
                    <a:pt x="5341" y="6305"/>
                    <a:pt x="4117" y="6305"/>
                  </a:cubicBezTo>
                  <a:cubicBezTo>
                    <a:pt x="2893" y="6305"/>
                    <a:pt x="1892" y="5304"/>
                    <a:pt x="1892" y="4080"/>
                  </a:cubicBezTo>
                  <a:cubicBezTo>
                    <a:pt x="1892" y="2856"/>
                    <a:pt x="2893" y="1855"/>
                    <a:pt x="4117" y="1855"/>
                  </a:cubicBezTo>
                </a:path>
              </a:pathLst>
            </a:custGeom>
            <a:solidFill>
              <a:srgbClr val="00009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9" name="Freihandform: Form 138">
              <a:extLst>
                <a:ext uri="{FF2B5EF4-FFF2-40B4-BE49-F238E27FC236}">
                  <a16:creationId xmlns:a16="http://schemas.microsoft.com/office/drawing/2014/main" id="{D7E9CA6D-36C8-F77D-155B-4EC46F6B6693}"/>
                </a:ext>
              </a:extLst>
            </p:cNvPr>
            <p:cNvSpPr/>
            <p:nvPr/>
          </p:nvSpPr>
          <p:spPr>
            <a:xfrm>
              <a:off x="6995953" y="6025783"/>
              <a:ext cx="20395" cy="20395"/>
            </a:xfrm>
            <a:custGeom>
              <a:avLst/>
              <a:gdLst>
                <a:gd name="connsiteX0" fmla="*/ 5193 w 5192"/>
                <a:gd name="connsiteY0" fmla="*/ 2597 h 5192"/>
                <a:gd name="connsiteX1" fmla="*/ 2596 w 5192"/>
                <a:gd name="connsiteY1" fmla="*/ 5193 h 5192"/>
                <a:gd name="connsiteX2" fmla="*/ 0 w 5192"/>
                <a:gd name="connsiteY2" fmla="*/ 2597 h 5192"/>
                <a:gd name="connsiteX3" fmla="*/ 2596 w 5192"/>
                <a:gd name="connsiteY3" fmla="*/ 0 h 5192"/>
                <a:gd name="connsiteX4" fmla="*/ 5193 w 5192"/>
                <a:gd name="connsiteY4" fmla="*/ 2597 h 5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92" h="5192">
                  <a:moveTo>
                    <a:pt x="5193" y="2597"/>
                  </a:moveTo>
                  <a:cubicBezTo>
                    <a:pt x="5193" y="4043"/>
                    <a:pt x="4043" y="5193"/>
                    <a:pt x="2596" y="5193"/>
                  </a:cubicBezTo>
                  <a:cubicBezTo>
                    <a:pt x="1150" y="5193"/>
                    <a:pt x="0" y="4043"/>
                    <a:pt x="0" y="2597"/>
                  </a:cubicBezTo>
                  <a:cubicBezTo>
                    <a:pt x="0" y="1150"/>
                    <a:pt x="1150" y="0"/>
                    <a:pt x="2596" y="0"/>
                  </a:cubicBezTo>
                  <a:cubicBezTo>
                    <a:pt x="4043" y="0"/>
                    <a:pt x="5193" y="1150"/>
                    <a:pt x="5193" y="2597"/>
                  </a:cubicBezTo>
                </a:path>
              </a:pathLst>
            </a:custGeom>
            <a:solidFill>
              <a:srgbClr val="FEFEF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9" name="Freihandform: Form 198">
              <a:extLst>
                <a:ext uri="{FF2B5EF4-FFF2-40B4-BE49-F238E27FC236}">
                  <a16:creationId xmlns:a16="http://schemas.microsoft.com/office/drawing/2014/main" id="{ACBFC05F-CA3A-203A-4C1E-ABAD84E578DD}"/>
                </a:ext>
              </a:extLst>
            </p:cNvPr>
            <p:cNvSpPr/>
            <p:nvPr/>
          </p:nvSpPr>
          <p:spPr>
            <a:xfrm>
              <a:off x="6989514" y="6019635"/>
              <a:ext cx="32250" cy="32250"/>
            </a:xfrm>
            <a:custGeom>
              <a:avLst/>
              <a:gdLst>
                <a:gd name="connsiteX0" fmla="*/ 7648 w 8210"/>
                <a:gd name="connsiteY0" fmla="*/ 2047 h 8210"/>
                <a:gd name="connsiteX1" fmla="*/ 2047 w 8210"/>
                <a:gd name="connsiteY1" fmla="*/ 563 h 8210"/>
                <a:gd name="connsiteX2" fmla="*/ 563 w 8210"/>
                <a:gd name="connsiteY2" fmla="*/ 6164 h 8210"/>
                <a:gd name="connsiteX3" fmla="*/ 6164 w 8210"/>
                <a:gd name="connsiteY3" fmla="*/ 7648 h 8210"/>
                <a:gd name="connsiteX4" fmla="*/ 7648 w 8210"/>
                <a:gd name="connsiteY4" fmla="*/ 2047 h 8210"/>
                <a:gd name="connsiteX5" fmla="*/ 6016 w 8210"/>
                <a:gd name="connsiteY5" fmla="*/ 2974 h 8210"/>
                <a:gd name="connsiteX6" fmla="*/ 5199 w 8210"/>
                <a:gd name="connsiteY6" fmla="*/ 6016 h 8210"/>
                <a:gd name="connsiteX7" fmla="*/ 2158 w 8210"/>
                <a:gd name="connsiteY7" fmla="*/ 5199 h 8210"/>
                <a:gd name="connsiteX8" fmla="*/ 2974 w 8210"/>
                <a:gd name="connsiteY8" fmla="*/ 2158 h 8210"/>
                <a:gd name="connsiteX9" fmla="*/ 6016 w 8210"/>
                <a:gd name="connsiteY9" fmla="*/ 2974 h 8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210" h="8210">
                  <a:moveTo>
                    <a:pt x="7648" y="2047"/>
                  </a:moveTo>
                  <a:cubicBezTo>
                    <a:pt x="6535" y="81"/>
                    <a:pt x="4013" y="-586"/>
                    <a:pt x="2047" y="563"/>
                  </a:cubicBezTo>
                  <a:cubicBezTo>
                    <a:pt x="81" y="1713"/>
                    <a:pt x="-586" y="4198"/>
                    <a:pt x="563" y="6164"/>
                  </a:cubicBezTo>
                  <a:cubicBezTo>
                    <a:pt x="1676" y="8130"/>
                    <a:pt x="4198" y="8798"/>
                    <a:pt x="6164" y="7648"/>
                  </a:cubicBezTo>
                  <a:cubicBezTo>
                    <a:pt x="8130" y="6535"/>
                    <a:pt x="8798" y="4013"/>
                    <a:pt x="7648" y="2047"/>
                  </a:cubicBezTo>
                  <a:moveTo>
                    <a:pt x="6016" y="2974"/>
                  </a:moveTo>
                  <a:cubicBezTo>
                    <a:pt x="6646" y="4050"/>
                    <a:pt x="6275" y="5422"/>
                    <a:pt x="5199" y="6016"/>
                  </a:cubicBezTo>
                  <a:cubicBezTo>
                    <a:pt x="4124" y="6646"/>
                    <a:pt x="2752" y="6275"/>
                    <a:pt x="2158" y="5199"/>
                  </a:cubicBezTo>
                  <a:cubicBezTo>
                    <a:pt x="1528" y="4124"/>
                    <a:pt x="1898" y="2752"/>
                    <a:pt x="2974" y="2158"/>
                  </a:cubicBezTo>
                  <a:cubicBezTo>
                    <a:pt x="4050" y="1528"/>
                    <a:pt x="5422" y="1898"/>
                    <a:pt x="6016" y="2974"/>
                  </a:cubicBezTo>
                </a:path>
              </a:pathLst>
            </a:custGeom>
            <a:solidFill>
              <a:srgbClr val="FDD35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9" name="Freihandform: Form 218">
              <a:extLst>
                <a:ext uri="{FF2B5EF4-FFF2-40B4-BE49-F238E27FC236}">
                  <a16:creationId xmlns:a16="http://schemas.microsoft.com/office/drawing/2014/main" id="{F641F52E-74FF-1663-49FD-D8291F847DDF}"/>
                </a:ext>
              </a:extLst>
            </p:cNvPr>
            <p:cNvSpPr/>
            <p:nvPr/>
          </p:nvSpPr>
          <p:spPr>
            <a:xfrm>
              <a:off x="6995513" y="6058273"/>
              <a:ext cx="20395" cy="20395"/>
            </a:xfrm>
            <a:custGeom>
              <a:avLst/>
              <a:gdLst>
                <a:gd name="connsiteX0" fmla="*/ 5193 w 5192"/>
                <a:gd name="connsiteY0" fmla="*/ 2597 h 5192"/>
                <a:gd name="connsiteX1" fmla="*/ 2597 w 5192"/>
                <a:gd name="connsiteY1" fmla="*/ 5193 h 5192"/>
                <a:gd name="connsiteX2" fmla="*/ 0 w 5192"/>
                <a:gd name="connsiteY2" fmla="*/ 2597 h 5192"/>
                <a:gd name="connsiteX3" fmla="*/ 2597 w 5192"/>
                <a:gd name="connsiteY3" fmla="*/ 0 h 5192"/>
                <a:gd name="connsiteX4" fmla="*/ 5193 w 5192"/>
                <a:gd name="connsiteY4" fmla="*/ 2597 h 5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92" h="5192">
                  <a:moveTo>
                    <a:pt x="5193" y="2597"/>
                  </a:moveTo>
                  <a:cubicBezTo>
                    <a:pt x="5193" y="4043"/>
                    <a:pt x="4043" y="5193"/>
                    <a:pt x="2597" y="5193"/>
                  </a:cubicBezTo>
                  <a:cubicBezTo>
                    <a:pt x="1150" y="5193"/>
                    <a:pt x="0" y="4043"/>
                    <a:pt x="0" y="2597"/>
                  </a:cubicBezTo>
                  <a:cubicBezTo>
                    <a:pt x="0" y="1150"/>
                    <a:pt x="1150" y="0"/>
                    <a:pt x="2597" y="0"/>
                  </a:cubicBezTo>
                  <a:cubicBezTo>
                    <a:pt x="4043" y="0"/>
                    <a:pt x="5193" y="1150"/>
                    <a:pt x="5193" y="2597"/>
                  </a:cubicBezTo>
                </a:path>
              </a:pathLst>
            </a:custGeom>
            <a:solidFill>
              <a:srgbClr val="FEFEF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0" name="Freihandform: Form 219">
              <a:extLst>
                <a:ext uri="{FF2B5EF4-FFF2-40B4-BE49-F238E27FC236}">
                  <a16:creationId xmlns:a16="http://schemas.microsoft.com/office/drawing/2014/main" id="{28334DEA-DE77-04C4-6CC0-37A25B7AF3BF}"/>
                </a:ext>
              </a:extLst>
            </p:cNvPr>
            <p:cNvSpPr/>
            <p:nvPr/>
          </p:nvSpPr>
          <p:spPr>
            <a:xfrm>
              <a:off x="6989546" y="6051787"/>
              <a:ext cx="32188" cy="32121"/>
            </a:xfrm>
            <a:custGeom>
              <a:avLst/>
              <a:gdLst>
                <a:gd name="connsiteX0" fmla="*/ 7639 w 8194"/>
                <a:gd name="connsiteY0" fmla="*/ 6139 h 8177"/>
                <a:gd name="connsiteX1" fmla="*/ 6156 w 8194"/>
                <a:gd name="connsiteY1" fmla="*/ 539 h 8177"/>
                <a:gd name="connsiteX2" fmla="*/ 555 w 8194"/>
                <a:gd name="connsiteY2" fmla="*/ 2022 h 8177"/>
                <a:gd name="connsiteX3" fmla="*/ 2039 w 8194"/>
                <a:gd name="connsiteY3" fmla="*/ 7623 h 8177"/>
                <a:gd name="connsiteX4" fmla="*/ 7639 w 8194"/>
                <a:gd name="connsiteY4" fmla="*/ 6139 h 8177"/>
                <a:gd name="connsiteX5" fmla="*/ 6008 w 8194"/>
                <a:gd name="connsiteY5" fmla="*/ 5212 h 8177"/>
                <a:gd name="connsiteX6" fmla="*/ 2966 w 8194"/>
                <a:gd name="connsiteY6" fmla="*/ 6028 h 8177"/>
                <a:gd name="connsiteX7" fmla="*/ 2150 w 8194"/>
                <a:gd name="connsiteY7" fmla="*/ 2986 h 8177"/>
                <a:gd name="connsiteX8" fmla="*/ 5191 w 8194"/>
                <a:gd name="connsiteY8" fmla="*/ 2170 h 8177"/>
                <a:gd name="connsiteX9" fmla="*/ 6008 w 8194"/>
                <a:gd name="connsiteY9" fmla="*/ 5212 h 8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94" h="8177">
                  <a:moveTo>
                    <a:pt x="7639" y="6139"/>
                  </a:moveTo>
                  <a:cubicBezTo>
                    <a:pt x="8789" y="4173"/>
                    <a:pt x="8084" y="1651"/>
                    <a:pt x="6156" y="539"/>
                  </a:cubicBezTo>
                  <a:cubicBezTo>
                    <a:pt x="4190" y="-574"/>
                    <a:pt x="1705" y="94"/>
                    <a:pt x="555" y="2022"/>
                  </a:cubicBezTo>
                  <a:cubicBezTo>
                    <a:pt x="-595" y="3988"/>
                    <a:pt x="110" y="6510"/>
                    <a:pt x="2039" y="7623"/>
                  </a:cubicBezTo>
                  <a:cubicBezTo>
                    <a:pt x="4005" y="8773"/>
                    <a:pt x="6489" y="8068"/>
                    <a:pt x="7639" y="6139"/>
                  </a:cubicBezTo>
                  <a:moveTo>
                    <a:pt x="6008" y="5212"/>
                  </a:moveTo>
                  <a:cubicBezTo>
                    <a:pt x="5377" y="6287"/>
                    <a:pt x="4005" y="6659"/>
                    <a:pt x="2966" y="6028"/>
                  </a:cubicBezTo>
                  <a:cubicBezTo>
                    <a:pt x="1890" y="5397"/>
                    <a:pt x="1519" y="4062"/>
                    <a:pt x="2150" y="2986"/>
                  </a:cubicBezTo>
                  <a:cubicBezTo>
                    <a:pt x="2780" y="1911"/>
                    <a:pt x="4153" y="1540"/>
                    <a:pt x="5191" y="2170"/>
                  </a:cubicBezTo>
                  <a:cubicBezTo>
                    <a:pt x="6267" y="2801"/>
                    <a:pt x="6638" y="4173"/>
                    <a:pt x="6008" y="5212"/>
                  </a:cubicBezTo>
                </a:path>
              </a:pathLst>
            </a:custGeom>
            <a:solidFill>
              <a:srgbClr val="66C2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1" name="Freihandform: Form 220">
              <a:extLst>
                <a:ext uri="{FF2B5EF4-FFF2-40B4-BE49-F238E27FC236}">
                  <a16:creationId xmlns:a16="http://schemas.microsoft.com/office/drawing/2014/main" id="{5E2819AA-A827-9F1D-BF88-A88DBE700DD4}"/>
                </a:ext>
              </a:extLst>
            </p:cNvPr>
            <p:cNvSpPr/>
            <p:nvPr/>
          </p:nvSpPr>
          <p:spPr>
            <a:xfrm>
              <a:off x="6725972" y="6019227"/>
              <a:ext cx="234136" cy="64835"/>
            </a:xfrm>
            <a:custGeom>
              <a:avLst/>
              <a:gdLst>
                <a:gd name="connsiteX0" fmla="*/ 59604 w 59604"/>
                <a:gd name="connsiteY0" fmla="*/ 16505 h 16505"/>
                <a:gd name="connsiteX1" fmla="*/ 52669 w 59604"/>
                <a:gd name="connsiteY1" fmla="*/ 12388 h 16505"/>
                <a:gd name="connsiteX2" fmla="*/ 55673 w 59604"/>
                <a:gd name="connsiteY2" fmla="*/ 1112 h 16505"/>
                <a:gd name="connsiteX3" fmla="*/ 59604 w 59604"/>
                <a:gd name="connsiteY3" fmla="*/ 0 h 16505"/>
                <a:gd name="connsiteX4" fmla="*/ 59604 w 59604"/>
                <a:gd name="connsiteY4" fmla="*/ 0 h 16505"/>
                <a:gd name="connsiteX5" fmla="*/ 0 w 59604"/>
                <a:gd name="connsiteY5" fmla="*/ 0 h 16505"/>
                <a:gd name="connsiteX6" fmla="*/ 0 w 59604"/>
                <a:gd name="connsiteY6" fmla="*/ 16468 h 16505"/>
                <a:gd name="connsiteX7" fmla="*/ 59604 w 59604"/>
                <a:gd name="connsiteY7" fmla="*/ 16468 h 16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604" h="16505">
                  <a:moveTo>
                    <a:pt x="59604" y="16505"/>
                  </a:moveTo>
                  <a:cubicBezTo>
                    <a:pt x="56823" y="16431"/>
                    <a:pt x="54152" y="14984"/>
                    <a:pt x="52669" y="12388"/>
                  </a:cubicBezTo>
                  <a:cubicBezTo>
                    <a:pt x="50406" y="8457"/>
                    <a:pt x="51741" y="3412"/>
                    <a:pt x="55673" y="1112"/>
                  </a:cubicBezTo>
                  <a:cubicBezTo>
                    <a:pt x="56896" y="408"/>
                    <a:pt x="58269" y="37"/>
                    <a:pt x="59604" y="0"/>
                  </a:cubicBezTo>
                  <a:lnTo>
                    <a:pt x="59604" y="0"/>
                  </a:lnTo>
                  <a:cubicBezTo>
                    <a:pt x="59604" y="0"/>
                    <a:pt x="0" y="0"/>
                    <a:pt x="0" y="0"/>
                  </a:cubicBezTo>
                  <a:lnTo>
                    <a:pt x="0" y="16468"/>
                  </a:lnTo>
                  <a:lnTo>
                    <a:pt x="59604" y="16468"/>
                  </a:lnTo>
                  <a:close/>
                </a:path>
              </a:pathLst>
            </a:custGeom>
            <a:solidFill>
              <a:srgbClr val="E2491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22" name="Gruppieren 221">
            <a:extLst>
              <a:ext uri="{FF2B5EF4-FFF2-40B4-BE49-F238E27FC236}">
                <a16:creationId xmlns:a16="http://schemas.microsoft.com/office/drawing/2014/main" id="{2C0D2A84-F982-AD45-CDB9-BD12F9888B62}"/>
              </a:ext>
            </a:extLst>
          </p:cNvPr>
          <p:cNvGrpSpPr/>
          <p:nvPr/>
        </p:nvGrpSpPr>
        <p:grpSpPr>
          <a:xfrm rot="16200000">
            <a:off x="11090856" y="5687086"/>
            <a:ext cx="295792" cy="64835"/>
            <a:chOff x="6725972" y="6019227"/>
            <a:chExt cx="295792" cy="64835"/>
          </a:xfrm>
        </p:grpSpPr>
        <p:sp>
          <p:nvSpPr>
            <p:cNvPr id="223" name="Freihandform: Form 222">
              <a:extLst>
                <a:ext uri="{FF2B5EF4-FFF2-40B4-BE49-F238E27FC236}">
                  <a16:creationId xmlns:a16="http://schemas.microsoft.com/office/drawing/2014/main" id="{A901E96E-6003-7241-FC3B-EF082006E056}"/>
                </a:ext>
              </a:extLst>
            </p:cNvPr>
            <p:cNvSpPr/>
            <p:nvPr/>
          </p:nvSpPr>
          <p:spPr>
            <a:xfrm>
              <a:off x="6930387" y="6019517"/>
              <a:ext cx="75614" cy="32195"/>
            </a:xfrm>
            <a:custGeom>
              <a:avLst/>
              <a:gdLst>
                <a:gd name="connsiteX0" fmla="*/ 0 w 19249"/>
                <a:gd name="connsiteY0" fmla="*/ 0 h 8196"/>
                <a:gd name="connsiteX1" fmla="*/ 19250 w 19249"/>
                <a:gd name="connsiteY1" fmla="*/ 0 h 8196"/>
                <a:gd name="connsiteX2" fmla="*/ 19250 w 19249"/>
                <a:gd name="connsiteY2" fmla="*/ 8197 h 8196"/>
                <a:gd name="connsiteX3" fmla="*/ 0 w 19249"/>
                <a:gd name="connsiteY3" fmla="*/ 8197 h 8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49" h="8196">
                  <a:moveTo>
                    <a:pt x="0" y="0"/>
                  </a:moveTo>
                  <a:lnTo>
                    <a:pt x="19250" y="0"/>
                  </a:lnTo>
                  <a:lnTo>
                    <a:pt x="19250" y="8197"/>
                  </a:lnTo>
                  <a:lnTo>
                    <a:pt x="0" y="8197"/>
                  </a:lnTo>
                  <a:close/>
                </a:path>
              </a:pathLst>
            </a:custGeom>
            <a:solidFill>
              <a:srgbClr val="FDC83A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4" name="Freihandform: Form 223">
              <a:extLst>
                <a:ext uri="{FF2B5EF4-FFF2-40B4-BE49-F238E27FC236}">
                  <a16:creationId xmlns:a16="http://schemas.microsoft.com/office/drawing/2014/main" id="{E3D014D6-1DEB-8325-C198-E9F96522EDC7}"/>
                </a:ext>
              </a:extLst>
            </p:cNvPr>
            <p:cNvSpPr/>
            <p:nvPr/>
          </p:nvSpPr>
          <p:spPr>
            <a:xfrm>
              <a:off x="6928639" y="6051717"/>
              <a:ext cx="77362" cy="32195"/>
            </a:xfrm>
            <a:custGeom>
              <a:avLst/>
              <a:gdLst>
                <a:gd name="connsiteX0" fmla="*/ 0 w 19694"/>
                <a:gd name="connsiteY0" fmla="*/ 0 h 8196"/>
                <a:gd name="connsiteX1" fmla="*/ 19695 w 19694"/>
                <a:gd name="connsiteY1" fmla="*/ 0 h 8196"/>
                <a:gd name="connsiteX2" fmla="*/ 19695 w 19694"/>
                <a:gd name="connsiteY2" fmla="*/ 8197 h 8196"/>
                <a:gd name="connsiteX3" fmla="*/ 0 w 19694"/>
                <a:gd name="connsiteY3" fmla="*/ 8197 h 8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94" h="8196">
                  <a:moveTo>
                    <a:pt x="0" y="0"/>
                  </a:moveTo>
                  <a:lnTo>
                    <a:pt x="19695" y="0"/>
                  </a:lnTo>
                  <a:lnTo>
                    <a:pt x="19695" y="8197"/>
                  </a:lnTo>
                  <a:lnTo>
                    <a:pt x="0" y="8197"/>
                  </a:lnTo>
                  <a:close/>
                </a:path>
              </a:pathLst>
            </a:custGeom>
            <a:solidFill>
              <a:srgbClr val="1195E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5" name="Freihandform: Form 224">
              <a:extLst>
                <a:ext uri="{FF2B5EF4-FFF2-40B4-BE49-F238E27FC236}">
                  <a16:creationId xmlns:a16="http://schemas.microsoft.com/office/drawing/2014/main" id="{5922E200-71D2-BB4D-D1AC-3BFDA97BDE6F}"/>
                </a:ext>
              </a:extLst>
            </p:cNvPr>
            <p:cNvSpPr/>
            <p:nvPr/>
          </p:nvSpPr>
          <p:spPr>
            <a:xfrm>
              <a:off x="6923104" y="6035544"/>
              <a:ext cx="54343" cy="32195"/>
            </a:xfrm>
            <a:custGeom>
              <a:avLst/>
              <a:gdLst>
                <a:gd name="connsiteX0" fmla="*/ 0 w 13834"/>
                <a:gd name="connsiteY0" fmla="*/ 0 h 8196"/>
                <a:gd name="connsiteX1" fmla="*/ 13835 w 13834"/>
                <a:gd name="connsiteY1" fmla="*/ 0 h 8196"/>
                <a:gd name="connsiteX2" fmla="*/ 13835 w 13834"/>
                <a:gd name="connsiteY2" fmla="*/ 8197 h 8196"/>
                <a:gd name="connsiteX3" fmla="*/ 0 w 13834"/>
                <a:gd name="connsiteY3" fmla="*/ 8197 h 8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34" h="8196">
                  <a:moveTo>
                    <a:pt x="0" y="0"/>
                  </a:moveTo>
                  <a:lnTo>
                    <a:pt x="13835" y="0"/>
                  </a:lnTo>
                  <a:lnTo>
                    <a:pt x="13835" y="8197"/>
                  </a:lnTo>
                  <a:lnTo>
                    <a:pt x="0" y="8197"/>
                  </a:lnTo>
                  <a:close/>
                </a:path>
              </a:pathLst>
            </a:custGeom>
            <a:solidFill>
              <a:srgbClr val="00024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6" name="Freihandform: Form 225">
              <a:extLst>
                <a:ext uri="{FF2B5EF4-FFF2-40B4-BE49-F238E27FC236}">
                  <a16:creationId xmlns:a16="http://schemas.microsoft.com/office/drawing/2014/main" id="{B263B754-F527-E129-4EC8-63CA08AFBBC6}"/>
                </a:ext>
              </a:extLst>
            </p:cNvPr>
            <p:cNvSpPr/>
            <p:nvPr/>
          </p:nvSpPr>
          <p:spPr>
            <a:xfrm>
              <a:off x="6967685" y="6041810"/>
              <a:ext cx="20395" cy="20395"/>
            </a:xfrm>
            <a:custGeom>
              <a:avLst/>
              <a:gdLst>
                <a:gd name="connsiteX0" fmla="*/ 5193 w 5192"/>
                <a:gd name="connsiteY0" fmla="*/ 2597 h 5192"/>
                <a:gd name="connsiteX1" fmla="*/ 2597 w 5192"/>
                <a:gd name="connsiteY1" fmla="*/ 5193 h 5192"/>
                <a:gd name="connsiteX2" fmla="*/ 0 w 5192"/>
                <a:gd name="connsiteY2" fmla="*/ 2597 h 5192"/>
                <a:gd name="connsiteX3" fmla="*/ 2597 w 5192"/>
                <a:gd name="connsiteY3" fmla="*/ 0 h 5192"/>
                <a:gd name="connsiteX4" fmla="*/ 5193 w 5192"/>
                <a:gd name="connsiteY4" fmla="*/ 2597 h 5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92" h="5192">
                  <a:moveTo>
                    <a:pt x="5193" y="2597"/>
                  </a:moveTo>
                  <a:cubicBezTo>
                    <a:pt x="5193" y="4043"/>
                    <a:pt x="4043" y="5193"/>
                    <a:pt x="2597" y="5193"/>
                  </a:cubicBezTo>
                  <a:cubicBezTo>
                    <a:pt x="1150" y="5193"/>
                    <a:pt x="0" y="4043"/>
                    <a:pt x="0" y="2597"/>
                  </a:cubicBezTo>
                  <a:cubicBezTo>
                    <a:pt x="0" y="1150"/>
                    <a:pt x="1150" y="0"/>
                    <a:pt x="2597" y="0"/>
                  </a:cubicBezTo>
                  <a:cubicBezTo>
                    <a:pt x="4043" y="0"/>
                    <a:pt x="5193" y="1150"/>
                    <a:pt x="5193" y="2597"/>
                  </a:cubicBezTo>
                </a:path>
              </a:pathLst>
            </a:custGeom>
            <a:solidFill>
              <a:srgbClr val="FEFEF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7" name="Freihandform: Form 226">
              <a:extLst>
                <a:ext uri="{FF2B5EF4-FFF2-40B4-BE49-F238E27FC236}">
                  <a16:creationId xmlns:a16="http://schemas.microsoft.com/office/drawing/2014/main" id="{1F01F6FF-1297-A010-4CC8-BD4B562E0B40}"/>
                </a:ext>
              </a:extLst>
            </p:cNvPr>
            <p:cNvSpPr/>
            <p:nvPr/>
          </p:nvSpPr>
          <p:spPr>
            <a:xfrm>
              <a:off x="6961569" y="6035690"/>
              <a:ext cx="32195" cy="32341"/>
            </a:xfrm>
            <a:custGeom>
              <a:avLst/>
              <a:gdLst>
                <a:gd name="connsiteX0" fmla="*/ 4117 w 8196"/>
                <a:gd name="connsiteY0" fmla="*/ 0 h 8233"/>
                <a:gd name="connsiteX1" fmla="*/ 0 w 8196"/>
                <a:gd name="connsiteY1" fmla="*/ 4117 h 8233"/>
                <a:gd name="connsiteX2" fmla="*/ 4117 w 8196"/>
                <a:gd name="connsiteY2" fmla="*/ 8234 h 8233"/>
                <a:gd name="connsiteX3" fmla="*/ 8197 w 8196"/>
                <a:gd name="connsiteY3" fmla="*/ 4117 h 8233"/>
                <a:gd name="connsiteX4" fmla="*/ 4117 w 8196"/>
                <a:gd name="connsiteY4" fmla="*/ 0 h 8233"/>
                <a:gd name="connsiteX5" fmla="*/ 4117 w 8196"/>
                <a:gd name="connsiteY5" fmla="*/ 1855 h 8233"/>
                <a:gd name="connsiteX6" fmla="*/ 6342 w 8196"/>
                <a:gd name="connsiteY6" fmla="*/ 4080 h 8233"/>
                <a:gd name="connsiteX7" fmla="*/ 4117 w 8196"/>
                <a:gd name="connsiteY7" fmla="*/ 6305 h 8233"/>
                <a:gd name="connsiteX8" fmla="*/ 1892 w 8196"/>
                <a:gd name="connsiteY8" fmla="*/ 4080 h 8233"/>
                <a:gd name="connsiteX9" fmla="*/ 4117 w 8196"/>
                <a:gd name="connsiteY9" fmla="*/ 1855 h 8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96" h="8233">
                  <a:moveTo>
                    <a:pt x="4117" y="0"/>
                  </a:moveTo>
                  <a:cubicBezTo>
                    <a:pt x="1855" y="0"/>
                    <a:pt x="0" y="1855"/>
                    <a:pt x="0" y="4117"/>
                  </a:cubicBezTo>
                  <a:cubicBezTo>
                    <a:pt x="0" y="6379"/>
                    <a:pt x="1817" y="8234"/>
                    <a:pt x="4117" y="8234"/>
                  </a:cubicBezTo>
                  <a:cubicBezTo>
                    <a:pt x="6417" y="8234"/>
                    <a:pt x="8197" y="6379"/>
                    <a:pt x="8197" y="4117"/>
                  </a:cubicBezTo>
                  <a:cubicBezTo>
                    <a:pt x="8197" y="1855"/>
                    <a:pt x="6342" y="0"/>
                    <a:pt x="4117" y="0"/>
                  </a:cubicBezTo>
                  <a:moveTo>
                    <a:pt x="4117" y="1855"/>
                  </a:moveTo>
                  <a:cubicBezTo>
                    <a:pt x="5341" y="1855"/>
                    <a:pt x="6342" y="2856"/>
                    <a:pt x="6342" y="4080"/>
                  </a:cubicBezTo>
                  <a:cubicBezTo>
                    <a:pt x="6342" y="5304"/>
                    <a:pt x="5341" y="6305"/>
                    <a:pt x="4117" y="6305"/>
                  </a:cubicBezTo>
                  <a:cubicBezTo>
                    <a:pt x="2893" y="6305"/>
                    <a:pt x="1892" y="5304"/>
                    <a:pt x="1892" y="4080"/>
                  </a:cubicBezTo>
                  <a:cubicBezTo>
                    <a:pt x="1892" y="2856"/>
                    <a:pt x="2893" y="1855"/>
                    <a:pt x="4117" y="1855"/>
                  </a:cubicBezTo>
                </a:path>
              </a:pathLst>
            </a:custGeom>
            <a:solidFill>
              <a:srgbClr val="00009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8" name="Freihandform: Form 227">
              <a:extLst>
                <a:ext uri="{FF2B5EF4-FFF2-40B4-BE49-F238E27FC236}">
                  <a16:creationId xmlns:a16="http://schemas.microsoft.com/office/drawing/2014/main" id="{48738348-BC7F-B1E5-BA40-92D06C5A312E}"/>
                </a:ext>
              </a:extLst>
            </p:cNvPr>
            <p:cNvSpPr/>
            <p:nvPr/>
          </p:nvSpPr>
          <p:spPr>
            <a:xfrm>
              <a:off x="6995953" y="6025783"/>
              <a:ext cx="20395" cy="20395"/>
            </a:xfrm>
            <a:custGeom>
              <a:avLst/>
              <a:gdLst>
                <a:gd name="connsiteX0" fmla="*/ 5193 w 5192"/>
                <a:gd name="connsiteY0" fmla="*/ 2597 h 5192"/>
                <a:gd name="connsiteX1" fmla="*/ 2596 w 5192"/>
                <a:gd name="connsiteY1" fmla="*/ 5193 h 5192"/>
                <a:gd name="connsiteX2" fmla="*/ 0 w 5192"/>
                <a:gd name="connsiteY2" fmla="*/ 2597 h 5192"/>
                <a:gd name="connsiteX3" fmla="*/ 2596 w 5192"/>
                <a:gd name="connsiteY3" fmla="*/ 0 h 5192"/>
                <a:gd name="connsiteX4" fmla="*/ 5193 w 5192"/>
                <a:gd name="connsiteY4" fmla="*/ 2597 h 5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92" h="5192">
                  <a:moveTo>
                    <a:pt x="5193" y="2597"/>
                  </a:moveTo>
                  <a:cubicBezTo>
                    <a:pt x="5193" y="4043"/>
                    <a:pt x="4043" y="5193"/>
                    <a:pt x="2596" y="5193"/>
                  </a:cubicBezTo>
                  <a:cubicBezTo>
                    <a:pt x="1150" y="5193"/>
                    <a:pt x="0" y="4043"/>
                    <a:pt x="0" y="2597"/>
                  </a:cubicBezTo>
                  <a:cubicBezTo>
                    <a:pt x="0" y="1150"/>
                    <a:pt x="1150" y="0"/>
                    <a:pt x="2596" y="0"/>
                  </a:cubicBezTo>
                  <a:cubicBezTo>
                    <a:pt x="4043" y="0"/>
                    <a:pt x="5193" y="1150"/>
                    <a:pt x="5193" y="2597"/>
                  </a:cubicBezTo>
                </a:path>
              </a:pathLst>
            </a:custGeom>
            <a:solidFill>
              <a:srgbClr val="FEFEF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0" name="Freihandform: Form 229">
              <a:extLst>
                <a:ext uri="{FF2B5EF4-FFF2-40B4-BE49-F238E27FC236}">
                  <a16:creationId xmlns:a16="http://schemas.microsoft.com/office/drawing/2014/main" id="{757ED2D8-D302-B203-3C29-9DC51096640B}"/>
                </a:ext>
              </a:extLst>
            </p:cNvPr>
            <p:cNvSpPr/>
            <p:nvPr/>
          </p:nvSpPr>
          <p:spPr>
            <a:xfrm>
              <a:off x="6989514" y="6019635"/>
              <a:ext cx="32250" cy="32250"/>
            </a:xfrm>
            <a:custGeom>
              <a:avLst/>
              <a:gdLst>
                <a:gd name="connsiteX0" fmla="*/ 7648 w 8210"/>
                <a:gd name="connsiteY0" fmla="*/ 2047 h 8210"/>
                <a:gd name="connsiteX1" fmla="*/ 2047 w 8210"/>
                <a:gd name="connsiteY1" fmla="*/ 563 h 8210"/>
                <a:gd name="connsiteX2" fmla="*/ 563 w 8210"/>
                <a:gd name="connsiteY2" fmla="*/ 6164 h 8210"/>
                <a:gd name="connsiteX3" fmla="*/ 6164 w 8210"/>
                <a:gd name="connsiteY3" fmla="*/ 7648 h 8210"/>
                <a:gd name="connsiteX4" fmla="*/ 7648 w 8210"/>
                <a:gd name="connsiteY4" fmla="*/ 2047 h 8210"/>
                <a:gd name="connsiteX5" fmla="*/ 6016 w 8210"/>
                <a:gd name="connsiteY5" fmla="*/ 2974 h 8210"/>
                <a:gd name="connsiteX6" fmla="*/ 5199 w 8210"/>
                <a:gd name="connsiteY6" fmla="*/ 6016 h 8210"/>
                <a:gd name="connsiteX7" fmla="*/ 2158 w 8210"/>
                <a:gd name="connsiteY7" fmla="*/ 5199 h 8210"/>
                <a:gd name="connsiteX8" fmla="*/ 2974 w 8210"/>
                <a:gd name="connsiteY8" fmla="*/ 2158 h 8210"/>
                <a:gd name="connsiteX9" fmla="*/ 6016 w 8210"/>
                <a:gd name="connsiteY9" fmla="*/ 2974 h 8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210" h="8210">
                  <a:moveTo>
                    <a:pt x="7648" y="2047"/>
                  </a:moveTo>
                  <a:cubicBezTo>
                    <a:pt x="6535" y="81"/>
                    <a:pt x="4013" y="-586"/>
                    <a:pt x="2047" y="563"/>
                  </a:cubicBezTo>
                  <a:cubicBezTo>
                    <a:pt x="81" y="1713"/>
                    <a:pt x="-586" y="4198"/>
                    <a:pt x="563" y="6164"/>
                  </a:cubicBezTo>
                  <a:cubicBezTo>
                    <a:pt x="1676" y="8130"/>
                    <a:pt x="4198" y="8798"/>
                    <a:pt x="6164" y="7648"/>
                  </a:cubicBezTo>
                  <a:cubicBezTo>
                    <a:pt x="8130" y="6535"/>
                    <a:pt x="8798" y="4013"/>
                    <a:pt x="7648" y="2047"/>
                  </a:cubicBezTo>
                  <a:moveTo>
                    <a:pt x="6016" y="2974"/>
                  </a:moveTo>
                  <a:cubicBezTo>
                    <a:pt x="6646" y="4050"/>
                    <a:pt x="6275" y="5422"/>
                    <a:pt x="5199" y="6016"/>
                  </a:cubicBezTo>
                  <a:cubicBezTo>
                    <a:pt x="4124" y="6646"/>
                    <a:pt x="2752" y="6275"/>
                    <a:pt x="2158" y="5199"/>
                  </a:cubicBezTo>
                  <a:cubicBezTo>
                    <a:pt x="1528" y="4124"/>
                    <a:pt x="1898" y="2752"/>
                    <a:pt x="2974" y="2158"/>
                  </a:cubicBezTo>
                  <a:cubicBezTo>
                    <a:pt x="4050" y="1528"/>
                    <a:pt x="5422" y="1898"/>
                    <a:pt x="6016" y="2974"/>
                  </a:cubicBezTo>
                </a:path>
              </a:pathLst>
            </a:custGeom>
            <a:solidFill>
              <a:srgbClr val="FDD35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3" name="Freihandform: Form 232">
              <a:extLst>
                <a:ext uri="{FF2B5EF4-FFF2-40B4-BE49-F238E27FC236}">
                  <a16:creationId xmlns:a16="http://schemas.microsoft.com/office/drawing/2014/main" id="{1BAFB9DC-CF14-E5BE-6843-86C2D0874289}"/>
                </a:ext>
              </a:extLst>
            </p:cNvPr>
            <p:cNvSpPr/>
            <p:nvPr/>
          </p:nvSpPr>
          <p:spPr>
            <a:xfrm>
              <a:off x="6995513" y="6058273"/>
              <a:ext cx="20395" cy="20395"/>
            </a:xfrm>
            <a:custGeom>
              <a:avLst/>
              <a:gdLst>
                <a:gd name="connsiteX0" fmla="*/ 5193 w 5192"/>
                <a:gd name="connsiteY0" fmla="*/ 2597 h 5192"/>
                <a:gd name="connsiteX1" fmla="*/ 2597 w 5192"/>
                <a:gd name="connsiteY1" fmla="*/ 5193 h 5192"/>
                <a:gd name="connsiteX2" fmla="*/ 0 w 5192"/>
                <a:gd name="connsiteY2" fmla="*/ 2597 h 5192"/>
                <a:gd name="connsiteX3" fmla="*/ 2597 w 5192"/>
                <a:gd name="connsiteY3" fmla="*/ 0 h 5192"/>
                <a:gd name="connsiteX4" fmla="*/ 5193 w 5192"/>
                <a:gd name="connsiteY4" fmla="*/ 2597 h 5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92" h="5192">
                  <a:moveTo>
                    <a:pt x="5193" y="2597"/>
                  </a:moveTo>
                  <a:cubicBezTo>
                    <a:pt x="5193" y="4043"/>
                    <a:pt x="4043" y="5193"/>
                    <a:pt x="2597" y="5193"/>
                  </a:cubicBezTo>
                  <a:cubicBezTo>
                    <a:pt x="1150" y="5193"/>
                    <a:pt x="0" y="4043"/>
                    <a:pt x="0" y="2597"/>
                  </a:cubicBezTo>
                  <a:cubicBezTo>
                    <a:pt x="0" y="1150"/>
                    <a:pt x="1150" y="0"/>
                    <a:pt x="2597" y="0"/>
                  </a:cubicBezTo>
                  <a:cubicBezTo>
                    <a:pt x="4043" y="0"/>
                    <a:pt x="5193" y="1150"/>
                    <a:pt x="5193" y="2597"/>
                  </a:cubicBezTo>
                </a:path>
              </a:pathLst>
            </a:custGeom>
            <a:solidFill>
              <a:srgbClr val="FEFEF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4" name="Freihandform: Form 233">
              <a:extLst>
                <a:ext uri="{FF2B5EF4-FFF2-40B4-BE49-F238E27FC236}">
                  <a16:creationId xmlns:a16="http://schemas.microsoft.com/office/drawing/2014/main" id="{137E161D-B359-56D5-B624-280842AA56CD}"/>
                </a:ext>
              </a:extLst>
            </p:cNvPr>
            <p:cNvSpPr/>
            <p:nvPr/>
          </p:nvSpPr>
          <p:spPr>
            <a:xfrm>
              <a:off x="6989546" y="6051787"/>
              <a:ext cx="32188" cy="32121"/>
            </a:xfrm>
            <a:custGeom>
              <a:avLst/>
              <a:gdLst>
                <a:gd name="connsiteX0" fmla="*/ 7639 w 8194"/>
                <a:gd name="connsiteY0" fmla="*/ 6139 h 8177"/>
                <a:gd name="connsiteX1" fmla="*/ 6156 w 8194"/>
                <a:gd name="connsiteY1" fmla="*/ 539 h 8177"/>
                <a:gd name="connsiteX2" fmla="*/ 555 w 8194"/>
                <a:gd name="connsiteY2" fmla="*/ 2022 h 8177"/>
                <a:gd name="connsiteX3" fmla="*/ 2039 w 8194"/>
                <a:gd name="connsiteY3" fmla="*/ 7623 h 8177"/>
                <a:gd name="connsiteX4" fmla="*/ 7639 w 8194"/>
                <a:gd name="connsiteY4" fmla="*/ 6139 h 8177"/>
                <a:gd name="connsiteX5" fmla="*/ 6008 w 8194"/>
                <a:gd name="connsiteY5" fmla="*/ 5212 h 8177"/>
                <a:gd name="connsiteX6" fmla="*/ 2966 w 8194"/>
                <a:gd name="connsiteY6" fmla="*/ 6028 h 8177"/>
                <a:gd name="connsiteX7" fmla="*/ 2150 w 8194"/>
                <a:gd name="connsiteY7" fmla="*/ 2986 h 8177"/>
                <a:gd name="connsiteX8" fmla="*/ 5191 w 8194"/>
                <a:gd name="connsiteY8" fmla="*/ 2170 h 8177"/>
                <a:gd name="connsiteX9" fmla="*/ 6008 w 8194"/>
                <a:gd name="connsiteY9" fmla="*/ 5212 h 8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94" h="8177">
                  <a:moveTo>
                    <a:pt x="7639" y="6139"/>
                  </a:moveTo>
                  <a:cubicBezTo>
                    <a:pt x="8789" y="4173"/>
                    <a:pt x="8084" y="1651"/>
                    <a:pt x="6156" y="539"/>
                  </a:cubicBezTo>
                  <a:cubicBezTo>
                    <a:pt x="4190" y="-574"/>
                    <a:pt x="1705" y="94"/>
                    <a:pt x="555" y="2022"/>
                  </a:cubicBezTo>
                  <a:cubicBezTo>
                    <a:pt x="-595" y="3988"/>
                    <a:pt x="110" y="6510"/>
                    <a:pt x="2039" y="7623"/>
                  </a:cubicBezTo>
                  <a:cubicBezTo>
                    <a:pt x="4005" y="8773"/>
                    <a:pt x="6489" y="8068"/>
                    <a:pt x="7639" y="6139"/>
                  </a:cubicBezTo>
                  <a:moveTo>
                    <a:pt x="6008" y="5212"/>
                  </a:moveTo>
                  <a:cubicBezTo>
                    <a:pt x="5377" y="6287"/>
                    <a:pt x="4005" y="6659"/>
                    <a:pt x="2966" y="6028"/>
                  </a:cubicBezTo>
                  <a:cubicBezTo>
                    <a:pt x="1890" y="5397"/>
                    <a:pt x="1519" y="4062"/>
                    <a:pt x="2150" y="2986"/>
                  </a:cubicBezTo>
                  <a:cubicBezTo>
                    <a:pt x="2780" y="1911"/>
                    <a:pt x="4153" y="1540"/>
                    <a:pt x="5191" y="2170"/>
                  </a:cubicBezTo>
                  <a:cubicBezTo>
                    <a:pt x="6267" y="2801"/>
                    <a:pt x="6638" y="4173"/>
                    <a:pt x="6008" y="5212"/>
                  </a:cubicBezTo>
                </a:path>
              </a:pathLst>
            </a:custGeom>
            <a:solidFill>
              <a:srgbClr val="66C2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5" name="Freihandform: Form 234">
              <a:extLst>
                <a:ext uri="{FF2B5EF4-FFF2-40B4-BE49-F238E27FC236}">
                  <a16:creationId xmlns:a16="http://schemas.microsoft.com/office/drawing/2014/main" id="{D499FDA2-8E38-0BFA-B097-6374FE97610C}"/>
                </a:ext>
              </a:extLst>
            </p:cNvPr>
            <p:cNvSpPr/>
            <p:nvPr/>
          </p:nvSpPr>
          <p:spPr>
            <a:xfrm>
              <a:off x="6725972" y="6019227"/>
              <a:ext cx="234136" cy="64835"/>
            </a:xfrm>
            <a:custGeom>
              <a:avLst/>
              <a:gdLst>
                <a:gd name="connsiteX0" fmla="*/ 59604 w 59604"/>
                <a:gd name="connsiteY0" fmla="*/ 16505 h 16505"/>
                <a:gd name="connsiteX1" fmla="*/ 52669 w 59604"/>
                <a:gd name="connsiteY1" fmla="*/ 12388 h 16505"/>
                <a:gd name="connsiteX2" fmla="*/ 55673 w 59604"/>
                <a:gd name="connsiteY2" fmla="*/ 1112 h 16505"/>
                <a:gd name="connsiteX3" fmla="*/ 59604 w 59604"/>
                <a:gd name="connsiteY3" fmla="*/ 0 h 16505"/>
                <a:gd name="connsiteX4" fmla="*/ 59604 w 59604"/>
                <a:gd name="connsiteY4" fmla="*/ 0 h 16505"/>
                <a:gd name="connsiteX5" fmla="*/ 0 w 59604"/>
                <a:gd name="connsiteY5" fmla="*/ 0 h 16505"/>
                <a:gd name="connsiteX6" fmla="*/ 0 w 59604"/>
                <a:gd name="connsiteY6" fmla="*/ 16468 h 16505"/>
                <a:gd name="connsiteX7" fmla="*/ 59604 w 59604"/>
                <a:gd name="connsiteY7" fmla="*/ 16468 h 16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604" h="16505">
                  <a:moveTo>
                    <a:pt x="59604" y="16505"/>
                  </a:moveTo>
                  <a:cubicBezTo>
                    <a:pt x="56823" y="16431"/>
                    <a:pt x="54152" y="14984"/>
                    <a:pt x="52669" y="12388"/>
                  </a:cubicBezTo>
                  <a:cubicBezTo>
                    <a:pt x="50406" y="8457"/>
                    <a:pt x="51741" y="3412"/>
                    <a:pt x="55673" y="1112"/>
                  </a:cubicBezTo>
                  <a:cubicBezTo>
                    <a:pt x="56896" y="408"/>
                    <a:pt x="58269" y="37"/>
                    <a:pt x="59604" y="0"/>
                  </a:cubicBezTo>
                  <a:lnTo>
                    <a:pt x="59604" y="0"/>
                  </a:lnTo>
                  <a:cubicBezTo>
                    <a:pt x="59604" y="0"/>
                    <a:pt x="0" y="0"/>
                    <a:pt x="0" y="0"/>
                  </a:cubicBezTo>
                  <a:lnTo>
                    <a:pt x="0" y="16468"/>
                  </a:lnTo>
                  <a:lnTo>
                    <a:pt x="59604" y="16468"/>
                  </a:lnTo>
                  <a:close/>
                </a:path>
              </a:pathLst>
            </a:custGeom>
            <a:solidFill>
              <a:srgbClr val="E2491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253" name="Gruppieren 252">
            <a:extLst>
              <a:ext uri="{FF2B5EF4-FFF2-40B4-BE49-F238E27FC236}">
                <a16:creationId xmlns:a16="http://schemas.microsoft.com/office/drawing/2014/main" id="{1AF56013-5681-A44A-6622-77AD59870CAA}"/>
              </a:ext>
            </a:extLst>
          </p:cNvPr>
          <p:cNvGrpSpPr/>
          <p:nvPr/>
        </p:nvGrpSpPr>
        <p:grpSpPr>
          <a:xfrm rot="16200000">
            <a:off x="8115790" y="5687086"/>
            <a:ext cx="295792" cy="64835"/>
            <a:chOff x="6725972" y="6019227"/>
            <a:chExt cx="295792" cy="64835"/>
          </a:xfrm>
        </p:grpSpPr>
        <p:sp>
          <p:nvSpPr>
            <p:cNvPr id="254" name="Freihandform: Form 253">
              <a:extLst>
                <a:ext uri="{FF2B5EF4-FFF2-40B4-BE49-F238E27FC236}">
                  <a16:creationId xmlns:a16="http://schemas.microsoft.com/office/drawing/2014/main" id="{C7ED2054-42DC-D477-DF23-A00383876A2C}"/>
                </a:ext>
              </a:extLst>
            </p:cNvPr>
            <p:cNvSpPr/>
            <p:nvPr/>
          </p:nvSpPr>
          <p:spPr>
            <a:xfrm>
              <a:off x="6930387" y="6019517"/>
              <a:ext cx="75614" cy="32195"/>
            </a:xfrm>
            <a:custGeom>
              <a:avLst/>
              <a:gdLst>
                <a:gd name="connsiteX0" fmla="*/ 0 w 19249"/>
                <a:gd name="connsiteY0" fmla="*/ 0 h 8196"/>
                <a:gd name="connsiteX1" fmla="*/ 19250 w 19249"/>
                <a:gd name="connsiteY1" fmla="*/ 0 h 8196"/>
                <a:gd name="connsiteX2" fmla="*/ 19250 w 19249"/>
                <a:gd name="connsiteY2" fmla="*/ 8197 h 8196"/>
                <a:gd name="connsiteX3" fmla="*/ 0 w 19249"/>
                <a:gd name="connsiteY3" fmla="*/ 8197 h 8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49" h="8196">
                  <a:moveTo>
                    <a:pt x="0" y="0"/>
                  </a:moveTo>
                  <a:lnTo>
                    <a:pt x="19250" y="0"/>
                  </a:lnTo>
                  <a:lnTo>
                    <a:pt x="19250" y="8197"/>
                  </a:lnTo>
                  <a:lnTo>
                    <a:pt x="0" y="8197"/>
                  </a:lnTo>
                  <a:close/>
                </a:path>
              </a:pathLst>
            </a:custGeom>
            <a:solidFill>
              <a:srgbClr val="FDC83A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5" name="Freihandform: Form 254">
              <a:extLst>
                <a:ext uri="{FF2B5EF4-FFF2-40B4-BE49-F238E27FC236}">
                  <a16:creationId xmlns:a16="http://schemas.microsoft.com/office/drawing/2014/main" id="{388F1FD0-50DD-DC05-3E89-1EDD58090D82}"/>
                </a:ext>
              </a:extLst>
            </p:cNvPr>
            <p:cNvSpPr/>
            <p:nvPr/>
          </p:nvSpPr>
          <p:spPr>
            <a:xfrm>
              <a:off x="6928639" y="6051717"/>
              <a:ext cx="77362" cy="32195"/>
            </a:xfrm>
            <a:custGeom>
              <a:avLst/>
              <a:gdLst>
                <a:gd name="connsiteX0" fmla="*/ 0 w 19694"/>
                <a:gd name="connsiteY0" fmla="*/ 0 h 8196"/>
                <a:gd name="connsiteX1" fmla="*/ 19695 w 19694"/>
                <a:gd name="connsiteY1" fmla="*/ 0 h 8196"/>
                <a:gd name="connsiteX2" fmla="*/ 19695 w 19694"/>
                <a:gd name="connsiteY2" fmla="*/ 8197 h 8196"/>
                <a:gd name="connsiteX3" fmla="*/ 0 w 19694"/>
                <a:gd name="connsiteY3" fmla="*/ 8197 h 8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694" h="8196">
                  <a:moveTo>
                    <a:pt x="0" y="0"/>
                  </a:moveTo>
                  <a:lnTo>
                    <a:pt x="19695" y="0"/>
                  </a:lnTo>
                  <a:lnTo>
                    <a:pt x="19695" y="8197"/>
                  </a:lnTo>
                  <a:lnTo>
                    <a:pt x="0" y="8197"/>
                  </a:lnTo>
                  <a:close/>
                </a:path>
              </a:pathLst>
            </a:custGeom>
            <a:solidFill>
              <a:srgbClr val="1195E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6" name="Freihandform: Form 255">
              <a:extLst>
                <a:ext uri="{FF2B5EF4-FFF2-40B4-BE49-F238E27FC236}">
                  <a16:creationId xmlns:a16="http://schemas.microsoft.com/office/drawing/2014/main" id="{42C38C99-6424-5753-5CF0-5EBE05B9A003}"/>
                </a:ext>
              </a:extLst>
            </p:cNvPr>
            <p:cNvSpPr/>
            <p:nvPr/>
          </p:nvSpPr>
          <p:spPr>
            <a:xfrm>
              <a:off x="6923104" y="6035544"/>
              <a:ext cx="54343" cy="32195"/>
            </a:xfrm>
            <a:custGeom>
              <a:avLst/>
              <a:gdLst>
                <a:gd name="connsiteX0" fmla="*/ 0 w 13834"/>
                <a:gd name="connsiteY0" fmla="*/ 0 h 8196"/>
                <a:gd name="connsiteX1" fmla="*/ 13835 w 13834"/>
                <a:gd name="connsiteY1" fmla="*/ 0 h 8196"/>
                <a:gd name="connsiteX2" fmla="*/ 13835 w 13834"/>
                <a:gd name="connsiteY2" fmla="*/ 8197 h 8196"/>
                <a:gd name="connsiteX3" fmla="*/ 0 w 13834"/>
                <a:gd name="connsiteY3" fmla="*/ 8197 h 8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834" h="8196">
                  <a:moveTo>
                    <a:pt x="0" y="0"/>
                  </a:moveTo>
                  <a:lnTo>
                    <a:pt x="13835" y="0"/>
                  </a:lnTo>
                  <a:lnTo>
                    <a:pt x="13835" y="8197"/>
                  </a:lnTo>
                  <a:lnTo>
                    <a:pt x="0" y="8197"/>
                  </a:lnTo>
                  <a:close/>
                </a:path>
              </a:pathLst>
            </a:custGeom>
            <a:solidFill>
              <a:srgbClr val="00024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7" name="Freihandform: Form 256">
              <a:extLst>
                <a:ext uri="{FF2B5EF4-FFF2-40B4-BE49-F238E27FC236}">
                  <a16:creationId xmlns:a16="http://schemas.microsoft.com/office/drawing/2014/main" id="{94CA5389-D953-1D5D-FFDC-3541C97F1CD1}"/>
                </a:ext>
              </a:extLst>
            </p:cNvPr>
            <p:cNvSpPr/>
            <p:nvPr/>
          </p:nvSpPr>
          <p:spPr>
            <a:xfrm>
              <a:off x="6967685" y="6041810"/>
              <a:ext cx="20395" cy="20395"/>
            </a:xfrm>
            <a:custGeom>
              <a:avLst/>
              <a:gdLst>
                <a:gd name="connsiteX0" fmla="*/ 5193 w 5192"/>
                <a:gd name="connsiteY0" fmla="*/ 2597 h 5192"/>
                <a:gd name="connsiteX1" fmla="*/ 2597 w 5192"/>
                <a:gd name="connsiteY1" fmla="*/ 5193 h 5192"/>
                <a:gd name="connsiteX2" fmla="*/ 0 w 5192"/>
                <a:gd name="connsiteY2" fmla="*/ 2597 h 5192"/>
                <a:gd name="connsiteX3" fmla="*/ 2597 w 5192"/>
                <a:gd name="connsiteY3" fmla="*/ 0 h 5192"/>
                <a:gd name="connsiteX4" fmla="*/ 5193 w 5192"/>
                <a:gd name="connsiteY4" fmla="*/ 2597 h 5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92" h="5192">
                  <a:moveTo>
                    <a:pt x="5193" y="2597"/>
                  </a:moveTo>
                  <a:cubicBezTo>
                    <a:pt x="5193" y="4043"/>
                    <a:pt x="4043" y="5193"/>
                    <a:pt x="2597" y="5193"/>
                  </a:cubicBezTo>
                  <a:cubicBezTo>
                    <a:pt x="1150" y="5193"/>
                    <a:pt x="0" y="4043"/>
                    <a:pt x="0" y="2597"/>
                  </a:cubicBezTo>
                  <a:cubicBezTo>
                    <a:pt x="0" y="1150"/>
                    <a:pt x="1150" y="0"/>
                    <a:pt x="2597" y="0"/>
                  </a:cubicBezTo>
                  <a:cubicBezTo>
                    <a:pt x="4043" y="0"/>
                    <a:pt x="5193" y="1150"/>
                    <a:pt x="5193" y="2597"/>
                  </a:cubicBezTo>
                </a:path>
              </a:pathLst>
            </a:custGeom>
            <a:solidFill>
              <a:srgbClr val="FEFEF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8" name="Freihandform: Form 257">
              <a:extLst>
                <a:ext uri="{FF2B5EF4-FFF2-40B4-BE49-F238E27FC236}">
                  <a16:creationId xmlns:a16="http://schemas.microsoft.com/office/drawing/2014/main" id="{29643845-C484-F76D-4340-089BD8385E6E}"/>
                </a:ext>
              </a:extLst>
            </p:cNvPr>
            <p:cNvSpPr/>
            <p:nvPr/>
          </p:nvSpPr>
          <p:spPr>
            <a:xfrm>
              <a:off x="6961569" y="6035690"/>
              <a:ext cx="32195" cy="32341"/>
            </a:xfrm>
            <a:custGeom>
              <a:avLst/>
              <a:gdLst>
                <a:gd name="connsiteX0" fmla="*/ 4117 w 8196"/>
                <a:gd name="connsiteY0" fmla="*/ 0 h 8233"/>
                <a:gd name="connsiteX1" fmla="*/ 0 w 8196"/>
                <a:gd name="connsiteY1" fmla="*/ 4117 h 8233"/>
                <a:gd name="connsiteX2" fmla="*/ 4117 w 8196"/>
                <a:gd name="connsiteY2" fmla="*/ 8234 h 8233"/>
                <a:gd name="connsiteX3" fmla="*/ 8197 w 8196"/>
                <a:gd name="connsiteY3" fmla="*/ 4117 h 8233"/>
                <a:gd name="connsiteX4" fmla="*/ 4117 w 8196"/>
                <a:gd name="connsiteY4" fmla="*/ 0 h 8233"/>
                <a:gd name="connsiteX5" fmla="*/ 4117 w 8196"/>
                <a:gd name="connsiteY5" fmla="*/ 1855 h 8233"/>
                <a:gd name="connsiteX6" fmla="*/ 6342 w 8196"/>
                <a:gd name="connsiteY6" fmla="*/ 4080 h 8233"/>
                <a:gd name="connsiteX7" fmla="*/ 4117 w 8196"/>
                <a:gd name="connsiteY7" fmla="*/ 6305 h 8233"/>
                <a:gd name="connsiteX8" fmla="*/ 1892 w 8196"/>
                <a:gd name="connsiteY8" fmla="*/ 4080 h 8233"/>
                <a:gd name="connsiteX9" fmla="*/ 4117 w 8196"/>
                <a:gd name="connsiteY9" fmla="*/ 1855 h 8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96" h="8233">
                  <a:moveTo>
                    <a:pt x="4117" y="0"/>
                  </a:moveTo>
                  <a:cubicBezTo>
                    <a:pt x="1855" y="0"/>
                    <a:pt x="0" y="1855"/>
                    <a:pt x="0" y="4117"/>
                  </a:cubicBezTo>
                  <a:cubicBezTo>
                    <a:pt x="0" y="6379"/>
                    <a:pt x="1817" y="8234"/>
                    <a:pt x="4117" y="8234"/>
                  </a:cubicBezTo>
                  <a:cubicBezTo>
                    <a:pt x="6417" y="8234"/>
                    <a:pt x="8197" y="6379"/>
                    <a:pt x="8197" y="4117"/>
                  </a:cubicBezTo>
                  <a:cubicBezTo>
                    <a:pt x="8197" y="1855"/>
                    <a:pt x="6342" y="0"/>
                    <a:pt x="4117" y="0"/>
                  </a:cubicBezTo>
                  <a:moveTo>
                    <a:pt x="4117" y="1855"/>
                  </a:moveTo>
                  <a:cubicBezTo>
                    <a:pt x="5341" y="1855"/>
                    <a:pt x="6342" y="2856"/>
                    <a:pt x="6342" y="4080"/>
                  </a:cubicBezTo>
                  <a:cubicBezTo>
                    <a:pt x="6342" y="5304"/>
                    <a:pt x="5341" y="6305"/>
                    <a:pt x="4117" y="6305"/>
                  </a:cubicBezTo>
                  <a:cubicBezTo>
                    <a:pt x="2893" y="6305"/>
                    <a:pt x="1892" y="5304"/>
                    <a:pt x="1892" y="4080"/>
                  </a:cubicBezTo>
                  <a:cubicBezTo>
                    <a:pt x="1892" y="2856"/>
                    <a:pt x="2893" y="1855"/>
                    <a:pt x="4117" y="1855"/>
                  </a:cubicBezTo>
                </a:path>
              </a:pathLst>
            </a:custGeom>
            <a:solidFill>
              <a:srgbClr val="000099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59" name="Freihandform: Form 258">
              <a:extLst>
                <a:ext uri="{FF2B5EF4-FFF2-40B4-BE49-F238E27FC236}">
                  <a16:creationId xmlns:a16="http://schemas.microsoft.com/office/drawing/2014/main" id="{1D28A9AA-B0D4-E8D6-7E0E-57AA38DD5CFB}"/>
                </a:ext>
              </a:extLst>
            </p:cNvPr>
            <p:cNvSpPr/>
            <p:nvPr/>
          </p:nvSpPr>
          <p:spPr>
            <a:xfrm>
              <a:off x="6995953" y="6025783"/>
              <a:ext cx="20395" cy="20395"/>
            </a:xfrm>
            <a:custGeom>
              <a:avLst/>
              <a:gdLst>
                <a:gd name="connsiteX0" fmla="*/ 5193 w 5192"/>
                <a:gd name="connsiteY0" fmla="*/ 2597 h 5192"/>
                <a:gd name="connsiteX1" fmla="*/ 2596 w 5192"/>
                <a:gd name="connsiteY1" fmla="*/ 5193 h 5192"/>
                <a:gd name="connsiteX2" fmla="*/ 0 w 5192"/>
                <a:gd name="connsiteY2" fmla="*/ 2597 h 5192"/>
                <a:gd name="connsiteX3" fmla="*/ 2596 w 5192"/>
                <a:gd name="connsiteY3" fmla="*/ 0 h 5192"/>
                <a:gd name="connsiteX4" fmla="*/ 5193 w 5192"/>
                <a:gd name="connsiteY4" fmla="*/ 2597 h 5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92" h="5192">
                  <a:moveTo>
                    <a:pt x="5193" y="2597"/>
                  </a:moveTo>
                  <a:cubicBezTo>
                    <a:pt x="5193" y="4043"/>
                    <a:pt x="4043" y="5193"/>
                    <a:pt x="2596" y="5193"/>
                  </a:cubicBezTo>
                  <a:cubicBezTo>
                    <a:pt x="1150" y="5193"/>
                    <a:pt x="0" y="4043"/>
                    <a:pt x="0" y="2597"/>
                  </a:cubicBezTo>
                  <a:cubicBezTo>
                    <a:pt x="0" y="1150"/>
                    <a:pt x="1150" y="0"/>
                    <a:pt x="2596" y="0"/>
                  </a:cubicBezTo>
                  <a:cubicBezTo>
                    <a:pt x="4043" y="0"/>
                    <a:pt x="5193" y="1150"/>
                    <a:pt x="5193" y="2597"/>
                  </a:cubicBezTo>
                </a:path>
              </a:pathLst>
            </a:custGeom>
            <a:solidFill>
              <a:srgbClr val="FEFEF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0" name="Freihandform: Form 259">
              <a:extLst>
                <a:ext uri="{FF2B5EF4-FFF2-40B4-BE49-F238E27FC236}">
                  <a16:creationId xmlns:a16="http://schemas.microsoft.com/office/drawing/2014/main" id="{D27C029E-C5E3-2CE2-6BF0-B54C2E6EA176}"/>
                </a:ext>
              </a:extLst>
            </p:cNvPr>
            <p:cNvSpPr/>
            <p:nvPr/>
          </p:nvSpPr>
          <p:spPr>
            <a:xfrm>
              <a:off x="6989514" y="6019635"/>
              <a:ext cx="32250" cy="32250"/>
            </a:xfrm>
            <a:custGeom>
              <a:avLst/>
              <a:gdLst>
                <a:gd name="connsiteX0" fmla="*/ 7648 w 8210"/>
                <a:gd name="connsiteY0" fmla="*/ 2047 h 8210"/>
                <a:gd name="connsiteX1" fmla="*/ 2047 w 8210"/>
                <a:gd name="connsiteY1" fmla="*/ 563 h 8210"/>
                <a:gd name="connsiteX2" fmla="*/ 563 w 8210"/>
                <a:gd name="connsiteY2" fmla="*/ 6164 h 8210"/>
                <a:gd name="connsiteX3" fmla="*/ 6164 w 8210"/>
                <a:gd name="connsiteY3" fmla="*/ 7648 h 8210"/>
                <a:gd name="connsiteX4" fmla="*/ 7648 w 8210"/>
                <a:gd name="connsiteY4" fmla="*/ 2047 h 8210"/>
                <a:gd name="connsiteX5" fmla="*/ 6016 w 8210"/>
                <a:gd name="connsiteY5" fmla="*/ 2974 h 8210"/>
                <a:gd name="connsiteX6" fmla="*/ 5199 w 8210"/>
                <a:gd name="connsiteY6" fmla="*/ 6016 h 8210"/>
                <a:gd name="connsiteX7" fmla="*/ 2158 w 8210"/>
                <a:gd name="connsiteY7" fmla="*/ 5199 h 8210"/>
                <a:gd name="connsiteX8" fmla="*/ 2974 w 8210"/>
                <a:gd name="connsiteY8" fmla="*/ 2158 h 8210"/>
                <a:gd name="connsiteX9" fmla="*/ 6016 w 8210"/>
                <a:gd name="connsiteY9" fmla="*/ 2974 h 8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210" h="8210">
                  <a:moveTo>
                    <a:pt x="7648" y="2047"/>
                  </a:moveTo>
                  <a:cubicBezTo>
                    <a:pt x="6535" y="81"/>
                    <a:pt x="4013" y="-586"/>
                    <a:pt x="2047" y="563"/>
                  </a:cubicBezTo>
                  <a:cubicBezTo>
                    <a:pt x="81" y="1713"/>
                    <a:pt x="-586" y="4198"/>
                    <a:pt x="563" y="6164"/>
                  </a:cubicBezTo>
                  <a:cubicBezTo>
                    <a:pt x="1676" y="8130"/>
                    <a:pt x="4198" y="8798"/>
                    <a:pt x="6164" y="7648"/>
                  </a:cubicBezTo>
                  <a:cubicBezTo>
                    <a:pt x="8130" y="6535"/>
                    <a:pt x="8798" y="4013"/>
                    <a:pt x="7648" y="2047"/>
                  </a:cubicBezTo>
                  <a:moveTo>
                    <a:pt x="6016" y="2974"/>
                  </a:moveTo>
                  <a:cubicBezTo>
                    <a:pt x="6646" y="4050"/>
                    <a:pt x="6275" y="5422"/>
                    <a:pt x="5199" y="6016"/>
                  </a:cubicBezTo>
                  <a:cubicBezTo>
                    <a:pt x="4124" y="6646"/>
                    <a:pt x="2752" y="6275"/>
                    <a:pt x="2158" y="5199"/>
                  </a:cubicBezTo>
                  <a:cubicBezTo>
                    <a:pt x="1528" y="4124"/>
                    <a:pt x="1898" y="2752"/>
                    <a:pt x="2974" y="2158"/>
                  </a:cubicBezTo>
                  <a:cubicBezTo>
                    <a:pt x="4050" y="1528"/>
                    <a:pt x="5422" y="1898"/>
                    <a:pt x="6016" y="2974"/>
                  </a:cubicBezTo>
                </a:path>
              </a:pathLst>
            </a:custGeom>
            <a:solidFill>
              <a:srgbClr val="FDD35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1" name="Freihandform: Form 260">
              <a:extLst>
                <a:ext uri="{FF2B5EF4-FFF2-40B4-BE49-F238E27FC236}">
                  <a16:creationId xmlns:a16="http://schemas.microsoft.com/office/drawing/2014/main" id="{81CB5EC7-5C7A-382B-699A-64209C1F2791}"/>
                </a:ext>
              </a:extLst>
            </p:cNvPr>
            <p:cNvSpPr/>
            <p:nvPr/>
          </p:nvSpPr>
          <p:spPr>
            <a:xfrm>
              <a:off x="6995513" y="6058273"/>
              <a:ext cx="20395" cy="20395"/>
            </a:xfrm>
            <a:custGeom>
              <a:avLst/>
              <a:gdLst>
                <a:gd name="connsiteX0" fmla="*/ 5193 w 5192"/>
                <a:gd name="connsiteY0" fmla="*/ 2597 h 5192"/>
                <a:gd name="connsiteX1" fmla="*/ 2597 w 5192"/>
                <a:gd name="connsiteY1" fmla="*/ 5193 h 5192"/>
                <a:gd name="connsiteX2" fmla="*/ 0 w 5192"/>
                <a:gd name="connsiteY2" fmla="*/ 2597 h 5192"/>
                <a:gd name="connsiteX3" fmla="*/ 2597 w 5192"/>
                <a:gd name="connsiteY3" fmla="*/ 0 h 5192"/>
                <a:gd name="connsiteX4" fmla="*/ 5193 w 5192"/>
                <a:gd name="connsiteY4" fmla="*/ 2597 h 51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92" h="5192">
                  <a:moveTo>
                    <a:pt x="5193" y="2597"/>
                  </a:moveTo>
                  <a:cubicBezTo>
                    <a:pt x="5193" y="4043"/>
                    <a:pt x="4043" y="5193"/>
                    <a:pt x="2597" y="5193"/>
                  </a:cubicBezTo>
                  <a:cubicBezTo>
                    <a:pt x="1150" y="5193"/>
                    <a:pt x="0" y="4043"/>
                    <a:pt x="0" y="2597"/>
                  </a:cubicBezTo>
                  <a:cubicBezTo>
                    <a:pt x="0" y="1150"/>
                    <a:pt x="1150" y="0"/>
                    <a:pt x="2597" y="0"/>
                  </a:cubicBezTo>
                  <a:cubicBezTo>
                    <a:pt x="4043" y="0"/>
                    <a:pt x="5193" y="1150"/>
                    <a:pt x="5193" y="2597"/>
                  </a:cubicBezTo>
                </a:path>
              </a:pathLst>
            </a:custGeom>
            <a:solidFill>
              <a:srgbClr val="FEFEF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2" name="Freihandform: Form 261">
              <a:extLst>
                <a:ext uri="{FF2B5EF4-FFF2-40B4-BE49-F238E27FC236}">
                  <a16:creationId xmlns:a16="http://schemas.microsoft.com/office/drawing/2014/main" id="{CBB37B94-9156-F4A1-CF85-68BAB55BE5A9}"/>
                </a:ext>
              </a:extLst>
            </p:cNvPr>
            <p:cNvSpPr/>
            <p:nvPr/>
          </p:nvSpPr>
          <p:spPr>
            <a:xfrm>
              <a:off x="6989546" y="6051787"/>
              <a:ext cx="32188" cy="32121"/>
            </a:xfrm>
            <a:custGeom>
              <a:avLst/>
              <a:gdLst>
                <a:gd name="connsiteX0" fmla="*/ 7639 w 8194"/>
                <a:gd name="connsiteY0" fmla="*/ 6139 h 8177"/>
                <a:gd name="connsiteX1" fmla="*/ 6156 w 8194"/>
                <a:gd name="connsiteY1" fmla="*/ 539 h 8177"/>
                <a:gd name="connsiteX2" fmla="*/ 555 w 8194"/>
                <a:gd name="connsiteY2" fmla="*/ 2022 h 8177"/>
                <a:gd name="connsiteX3" fmla="*/ 2039 w 8194"/>
                <a:gd name="connsiteY3" fmla="*/ 7623 h 8177"/>
                <a:gd name="connsiteX4" fmla="*/ 7639 w 8194"/>
                <a:gd name="connsiteY4" fmla="*/ 6139 h 8177"/>
                <a:gd name="connsiteX5" fmla="*/ 6008 w 8194"/>
                <a:gd name="connsiteY5" fmla="*/ 5212 h 8177"/>
                <a:gd name="connsiteX6" fmla="*/ 2966 w 8194"/>
                <a:gd name="connsiteY6" fmla="*/ 6028 h 8177"/>
                <a:gd name="connsiteX7" fmla="*/ 2150 w 8194"/>
                <a:gd name="connsiteY7" fmla="*/ 2986 h 8177"/>
                <a:gd name="connsiteX8" fmla="*/ 5191 w 8194"/>
                <a:gd name="connsiteY8" fmla="*/ 2170 h 8177"/>
                <a:gd name="connsiteX9" fmla="*/ 6008 w 8194"/>
                <a:gd name="connsiteY9" fmla="*/ 5212 h 81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94" h="8177">
                  <a:moveTo>
                    <a:pt x="7639" y="6139"/>
                  </a:moveTo>
                  <a:cubicBezTo>
                    <a:pt x="8789" y="4173"/>
                    <a:pt x="8084" y="1651"/>
                    <a:pt x="6156" y="539"/>
                  </a:cubicBezTo>
                  <a:cubicBezTo>
                    <a:pt x="4190" y="-574"/>
                    <a:pt x="1705" y="94"/>
                    <a:pt x="555" y="2022"/>
                  </a:cubicBezTo>
                  <a:cubicBezTo>
                    <a:pt x="-595" y="3988"/>
                    <a:pt x="110" y="6510"/>
                    <a:pt x="2039" y="7623"/>
                  </a:cubicBezTo>
                  <a:cubicBezTo>
                    <a:pt x="4005" y="8773"/>
                    <a:pt x="6489" y="8068"/>
                    <a:pt x="7639" y="6139"/>
                  </a:cubicBezTo>
                  <a:moveTo>
                    <a:pt x="6008" y="5212"/>
                  </a:moveTo>
                  <a:cubicBezTo>
                    <a:pt x="5377" y="6287"/>
                    <a:pt x="4005" y="6659"/>
                    <a:pt x="2966" y="6028"/>
                  </a:cubicBezTo>
                  <a:cubicBezTo>
                    <a:pt x="1890" y="5397"/>
                    <a:pt x="1519" y="4062"/>
                    <a:pt x="2150" y="2986"/>
                  </a:cubicBezTo>
                  <a:cubicBezTo>
                    <a:pt x="2780" y="1911"/>
                    <a:pt x="4153" y="1540"/>
                    <a:pt x="5191" y="2170"/>
                  </a:cubicBezTo>
                  <a:cubicBezTo>
                    <a:pt x="6267" y="2801"/>
                    <a:pt x="6638" y="4173"/>
                    <a:pt x="6008" y="5212"/>
                  </a:cubicBezTo>
                </a:path>
              </a:pathLst>
            </a:custGeom>
            <a:solidFill>
              <a:srgbClr val="66C2FF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63" name="Freihandform: Form 262">
              <a:extLst>
                <a:ext uri="{FF2B5EF4-FFF2-40B4-BE49-F238E27FC236}">
                  <a16:creationId xmlns:a16="http://schemas.microsoft.com/office/drawing/2014/main" id="{610ECA15-7D18-F0D6-E1AA-F30195B9B2FF}"/>
                </a:ext>
              </a:extLst>
            </p:cNvPr>
            <p:cNvSpPr/>
            <p:nvPr/>
          </p:nvSpPr>
          <p:spPr>
            <a:xfrm>
              <a:off x="6725972" y="6019227"/>
              <a:ext cx="234136" cy="64835"/>
            </a:xfrm>
            <a:custGeom>
              <a:avLst/>
              <a:gdLst>
                <a:gd name="connsiteX0" fmla="*/ 59604 w 59604"/>
                <a:gd name="connsiteY0" fmla="*/ 16505 h 16505"/>
                <a:gd name="connsiteX1" fmla="*/ 52669 w 59604"/>
                <a:gd name="connsiteY1" fmla="*/ 12388 h 16505"/>
                <a:gd name="connsiteX2" fmla="*/ 55673 w 59604"/>
                <a:gd name="connsiteY2" fmla="*/ 1112 h 16505"/>
                <a:gd name="connsiteX3" fmla="*/ 59604 w 59604"/>
                <a:gd name="connsiteY3" fmla="*/ 0 h 16505"/>
                <a:gd name="connsiteX4" fmla="*/ 59604 w 59604"/>
                <a:gd name="connsiteY4" fmla="*/ 0 h 16505"/>
                <a:gd name="connsiteX5" fmla="*/ 0 w 59604"/>
                <a:gd name="connsiteY5" fmla="*/ 0 h 16505"/>
                <a:gd name="connsiteX6" fmla="*/ 0 w 59604"/>
                <a:gd name="connsiteY6" fmla="*/ 16468 h 16505"/>
                <a:gd name="connsiteX7" fmla="*/ 59604 w 59604"/>
                <a:gd name="connsiteY7" fmla="*/ 16468 h 16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9604" h="16505">
                  <a:moveTo>
                    <a:pt x="59604" y="16505"/>
                  </a:moveTo>
                  <a:cubicBezTo>
                    <a:pt x="56823" y="16431"/>
                    <a:pt x="54152" y="14984"/>
                    <a:pt x="52669" y="12388"/>
                  </a:cubicBezTo>
                  <a:cubicBezTo>
                    <a:pt x="50406" y="8457"/>
                    <a:pt x="51741" y="3412"/>
                    <a:pt x="55673" y="1112"/>
                  </a:cubicBezTo>
                  <a:cubicBezTo>
                    <a:pt x="56896" y="408"/>
                    <a:pt x="58269" y="37"/>
                    <a:pt x="59604" y="0"/>
                  </a:cubicBezTo>
                  <a:lnTo>
                    <a:pt x="59604" y="0"/>
                  </a:lnTo>
                  <a:cubicBezTo>
                    <a:pt x="59604" y="0"/>
                    <a:pt x="0" y="0"/>
                    <a:pt x="0" y="0"/>
                  </a:cubicBezTo>
                  <a:lnTo>
                    <a:pt x="0" y="16468"/>
                  </a:lnTo>
                  <a:lnTo>
                    <a:pt x="59604" y="16468"/>
                  </a:lnTo>
                  <a:close/>
                </a:path>
              </a:pathLst>
            </a:custGeom>
            <a:solidFill>
              <a:srgbClr val="E2491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270" name="Foliennummernplatzhalter 269">
            <a:extLst>
              <a:ext uri="{FF2B5EF4-FFF2-40B4-BE49-F238E27FC236}">
                <a16:creationId xmlns:a16="http://schemas.microsoft.com/office/drawing/2014/main" id="{E82206E5-1B94-8282-F8DC-511DAF0757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BFC357-94BC-44C8-B600-C5D15BBAA3CF}" type="slidenum">
              <a:rPr lang="de-DE" smtClean="0">
                <a:solidFill>
                  <a:schemeClr val="bg1"/>
                </a:solidFill>
              </a:rPr>
              <a:t>4</a:t>
            </a:fld>
            <a:endParaRPr lang="de-DE">
              <a:solidFill>
                <a:schemeClr val="bg1"/>
              </a:solidFill>
            </a:endParaRP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66D31845-5CE7-B9B5-EEC5-E0B8A710C585}"/>
              </a:ext>
            </a:extLst>
          </p:cNvPr>
          <p:cNvGrpSpPr/>
          <p:nvPr/>
        </p:nvGrpSpPr>
        <p:grpSpPr>
          <a:xfrm flipH="1">
            <a:off x="1813084" y="4177940"/>
            <a:ext cx="2454116" cy="1385419"/>
            <a:chOff x="7814949" y="4177940"/>
            <a:chExt cx="2454116" cy="1385419"/>
          </a:xfrm>
        </p:grpSpPr>
        <p:sp>
          <p:nvSpPr>
            <p:cNvPr id="5" name="Freihandform: Form 4">
              <a:extLst>
                <a:ext uri="{FF2B5EF4-FFF2-40B4-BE49-F238E27FC236}">
                  <a16:creationId xmlns:a16="http://schemas.microsoft.com/office/drawing/2014/main" id="{98960BB2-335F-CA32-DB10-28C08C2919CA}"/>
                </a:ext>
              </a:extLst>
            </p:cNvPr>
            <p:cNvSpPr/>
            <p:nvPr/>
          </p:nvSpPr>
          <p:spPr>
            <a:xfrm flipH="1">
              <a:off x="8544327" y="4356841"/>
              <a:ext cx="1513314" cy="375436"/>
            </a:xfrm>
            <a:custGeom>
              <a:avLst/>
              <a:gdLst>
                <a:gd name="connsiteX0" fmla="*/ 0 w 203625"/>
                <a:gd name="connsiteY0" fmla="*/ 0 h 50517"/>
                <a:gd name="connsiteX1" fmla="*/ 203626 w 203625"/>
                <a:gd name="connsiteY1" fmla="*/ 0 h 50517"/>
                <a:gd name="connsiteX2" fmla="*/ 203626 w 203625"/>
                <a:gd name="connsiteY2" fmla="*/ 50517 h 50517"/>
                <a:gd name="connsiteX3" fmla="*/ 0 w 203625"/>
                <a:gd name="connsiteY3" fmla="*/ 50517 h 50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3625" h="50517">
                  <a:moveTo>
                    <a:pt x="0" y="0"/>
                  </a:moveTo>
                  <a:lnTo>
                    <a:pt x="203626" y="0"/>
                  </a:lnTo>
                  <a:lnTo>
                    <a:pt x="203626" y="50517"/>
                  </a:lnTo>
                  <a:lnTo>
                    <a:pt x="0" y="50517"/>
                  </a:lnTo>
                  <a:close/>
                </a:path>
              </a:pathLst>
            </a:custGeom>
            <a:solidFill>
              <a:srgbClr val="D1D1D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9" name="Freihandform: Form 8">
              <a:extLst>
                <a:ext uri="{FF2B5EF4-FFF2-40B4-BE49-F238E27FC236}">
                  <a16:creationId xmlns:a16="http://schemas.microsoft.com/office/drawing/2014/main" id="{83062696-EF5D-1FF7-348A-F1B6640851C2}"/>
                </a:ext>
              </a:extLst>
            </p:cNvPr>
            <p:cNvSpPr/>
            <p:nvPr/>
          </p:nvSpPr>
          <p:spPr>
            <a:xfrm flipH="1">
              <a:off x="8201415" y="4668874"/>
              <a:ext cx="1983298" cy="894485"/>
            </a:xfrm>
            <a:custGeom>
              <a:avLst/>
              <a:gdLst>
                <a:gd name="connsiteX0" fmla="*/ 0 w 266864"/>
                <a:gd name="connsiteY0" fmla="*/ 0 h 120358"/>
                <a:gd name="connsiteX1" fmla="*/ 266865 w 266864"/>
                <a:gd name="connsiteY1" fmla="*/ 0 h 120358"/>
                <a:gd name="connsiteX2" fmla="*/ 266865 w 266864"/>
                <a:gd name="connsiteY2" fmla="*/ 120358 h 120358"/>
                <a:gd name="connsiteX3" fmla="*/ 0 w 266864"/>
                <a:gd name="connsiteY3" fmla="*/ 120358 h 12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6864" h="120358">
                  <a:moveTo>
                    <a:pt x="0" y="0"/>
                  </a:moveTo>
                  <a:lnTo>
                    <a:pt x="266865" y="0"/>
                  </a:lnTo>
                  <a:lnTo>
                    <a:pt x="266865" y="120358"/>
                  </a:lnTo>
                  <a:lnTo>
                    <a:pt x="0" y="120358"/>
                  </a:lnTo>
                  <a:close/>
                </a:path>
              </a:pathLst>
            </a:custGeom>
            <a:solidFill>
              <a:srgbClr val="D1D1D1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2" name="Freihandform: Form 11">
              <a:extLst>
                <a:ext uri="{FF2B5EF4-FFF2-40B4-BE49-F238E27FC236}">
                  <a16:creationId xmlns:a16="http://schemas.microsoft.com/office/drawing/2014/main" id="{FD22C6D2-5ADA-0BB8-5344-1CB3C626E5B0}"/>
                </a:ext>
              </a:extLst>
            </p:cNvPr>
            <p:cNvSpPr/>
            <p:nvPr/>
          </p:nvSpPr>
          <p:spPr>
            <a:xfrm flipH="1">
              <a:off x="9244477" y="4668874"/>
              <a:ext cx="1024588" cy="894485"/>
            </a:xfrm>
            <a:custGeom>
              <a:avLst/>
              <a:gdLst>
                <a:gd name="connsiteX0" fmla="*/ 0 w 137864"/>
                <a:gd name="connsiteY0" fmla="*/ 0 h 120358"/>
                <a:gd name="connsiteX1" fmla="*/ 137865 w 137864"/>
                <a:gd name="connsiteY1" fmla="*/ 0 h 120358"/>
                <a:gd name="connsiteX2" fmla="*/ 137865 w 137864"/>
                <a:gd name="connsiteY2" fmla="*/ 120358 h 120358"/>
                <a:gd name="connsiteX3" fmla="*/ 0 w 137864"/>
                <a:gd name="connsiteY3" fmla="*/ 120358 h 120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864" h="120358">
                  <a:moveTo>
                    <a:pt x="0" y="0"/>
                  </a:moveTo>
                  <a:lnTo>
                    <a:pt x="137865" y="0"/>
                  </a:lnTo>
                  <a:lnTo>
                    <a:pt x="137865" y="120358"/>
                  </a:lnTo>
                  <a:lnTo>
                    <a:pt x="0" y="120358"/>
                  </a:lnTo>
                  <a:close/>
                </a:path>
              </a:pathLst>
            </a:custGeom>
            <a:solidFill>
              <a:srgbClr val="E7E7E7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" name="Freihandform: Form 12">
              <a:extLst>
                <a:ext uri="{FF2B5EF4-FFF2-40B4-BE49-F238E27FC236}">
                  <a16:creationId xmlns:a16="http://schemas.microsoft.com/office/drawing/2014/main" id="{A2D0752F-EBD4-7E37-254E-5CD4F6ACDC3B}"/>
                </a:ext>
              </a:extLst>
            </p:cNvPr>
            <p:cNvSpPr/>
            <p:nvPr/>
          </p:nvSpPr>
          <p:spPr>
            <a:xfrm flipH="1">
              <a:off x="9117400" y="4477019"/>
              <a:ext cx="100887" cy="191846"/>
            </a:xfrm>
            <a:custGeom>
              <a:avLst/>
              <a:gdLst>
                <a:gd name="connsiteX0" fmla="*/ 0 w 13575"/>
                <a:gd name="connsiteY0" fmla="*/ 0 h 25814"/>
                <a:gd name="connsiteX1" fmla="*/ 13575 w 13575"/>
                <a:gd name="connsiteY1" fmla="*/ 0 h 25814"/>
                <a:gd name="connsiteX2" fmla="*/ 13575 w 13575"/>
                <a:gd name="connsiteY2" fmla="*/ 25815 h 25814"/>
                <a:gd name="connsiteX3" fmla="*/ 0 w 13575"/>
                <a:gd name="connsiteY3" fmla="*/ 25815 h 25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25814">
                  <a:moveTo>
                    <a:pt x="0" y="0"/>
                  </a:moveTo>
                  <a:lnTo>
                    <a:pt x="13575" y="0"/>
                  </a:lnTo>
                  <a:lnTo>
                    <a:pt x="13575" y="25815"/>
                  </a:lnTo>
                  <a:lnTo>
                    <a:pt x="0" y="25815"/>
                  </a:lnTo>
                  <a:close/>
                </a:path>
              </a:pathLst>
            </a:custGeom>
            <a:solidFill>
              <a:srgbClr val="90909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5" name="Freihandform: Form 14">
              <a:extLst>
                <a:ext uri="{FF2B5EF4-FFF2-40B4-BE49-F238E27FC236}">
                  <a16:creationId xmlns:a16="http://schemas.microsoft.com/office/drawing/2014/main" id="{6D57F093-4E09-48CF-F0B5-E4611892C5EE}"/>
                </a:ext>
              </a:extLst>
            </p:cNvPr>
            <p:cNvSpPr/>
            <p:nvPr/>
          </p:nvSpPr>
          <p:spPr>
            <a:xfrm flipH="1">
              <a:off x="8832648" y="4477019"/>
              <a:ext cx="100887" cy="191846"/>
            </a:xfrm>
            <a:custGeom>
              <a:avLst/>
              <a:gdLst>
                <a:gd name="connsiteX0" fmla="*/ 0 w 13575"/>
                <a:gd name="connsiteY0" fmla="*/ 0 h 25814"/>
                <a:gd name="connsiteX1" fmla="*/ 13575 w 13575"/>
                <a:gd name="connsiteY1" fmla="*/ 0 h 25814"/>
                <a:gd name="connsiteX2" fmla="*/ 13575 w 13575"/>
                <a:gd name="connsiteY2" fmla="*/ 25815 h 25814"/>
                <a:gd name="connsiteX3" fmla="*/ 0 w 13575"/>
                <a:gd name="connsiteY3" fmla="*/ 25815 h 25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25814">
                  <a:moveTo>
                    <a:pt x="0" y="0"/>
                  </a:moveTo>
                  <a:lnTo>
                    <a:pt x="13575" y="0"/>
                  </a:lnTo>
                  <a:lnTo>
                    <a:pt x="13575" y="25815"/>
                  </a:lnTo>
                  <a:lnTo>
                    <a:pt x="0" y="25815"/>
                  </a:lnTo>
                  <a:close/>
                </a:path>
              </a:pathLst>
            </a:custGeom>
            <a:solidFill>
              <a:srgbClr val="90909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id="{77ACEC64-984B-0971-47BA-D9D46B77E85E}"/>
                </a:ext>
              </a:extLst>
            </p:cNvPr>
            <p:cNvSpPr/>
            <p:nvPr/>
          </p:nvSpPr>
          <p:spPr>
            <a:xfrm flipH="1">
              <a:off x="9296301" y="4527186"/>
              <a:ext cx="920391" cy="144438"/>
            </a:xfrm>
            <a:custGeom>
              <a:avLst/>
              <a:gdLst>
                <a:gd name="connsiteX0" fmla="*/ 123808 w 123844"/>
                <a:gd name="connsiteY0" fmla="*/ 19435 h 19435"/>
                <a:gd name="connsiteX1" fmla="*/ 0 w 123844"/>
                <a:gd name="connsiteY1" fmla="*/ 19435 h 19435"/>
                <a:gd name="connsiteX2" fmla="*/ 0 w 123844"/>
                <a:gd name="connsiteY2" fmla="*/ 5044 h 19435"/>
                <a:gd name="connsiteX3" fmla="*/ 5044 w 123844"/>
                <a:gd name="connsiteY3" fmla="*/ 0 h 19435"/>
                <a:gd name="connsiteX4" fmla="*/ 118800 w 123844"/>
                <a:gd name="connsiteY4" fmla="*/ 0 h 19435"/>
                <a:gd name="connsiteX5" fmla="*/ 123845 w 123844"/>
                <a:gd name="connsiteY5" fmla="*/ 5044 h 19435"/>
                <a:gd name="connsiteX6" fmla="*/ 123845 w 123844"/>
                <a:gd name="connsiteY6" fmla="*/ 19435 h 19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3844" h="19435">
                  <a:moveTo>
                    <a:pt x="123808" y="19435"/>
                  </a:moveTo>
                  <a:lnTo>
                    <a:pt x="0" y="19435"/>
                  </a:lnTo>
                  <a:lnTo>
                    <a:pt x="0" y="5044"/>
                  </a:lnTo>
                  <a:cubicBezTo>
                    <a:pt x="0" y="2263"/>
                    <a:pt x="2263" y="0"/>
                    <a:pt x="5044" y="0"/>
                  </a:cubicBezTo>
                  <a:lnTo>
                    <a:pt x="118800" y="0"/>
                  </a:lnTo>
                  <a:cubicBezTo>
                    <a:pt x="121582" y="0"/>
                    <a:pt x="123845" y="2263"/>
                    <a:pt x="123845" y="5044"/>
                  </a:cubicBezTo>
                  <a:lnTo>
                    <a:pt x="123845" y="19435"/>
                  </a:lnTo>
                  <a:close/>
                </a:path>
              </a:pathLst>
            </a:custGeom>
            <a:solidFill>
              <a:srgbClr val="90909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id="{97046448-6A21-B2E6-E785-B7769183C5F5}"/>
                </a:ext>
              </a:extLst>
            </p:cNvPr>
            <p:cNvSpPr/>
            <p:nvPr/>
          </p:nvSpPr>
          <p:spPr>
            <a:xfrm flipH="1">
              <a:off x="9387260" y="5075458"/>
              <a:ext cx="632065" cy="191296"/>
            </a:xfrm>
            <a:custGeom>
              <a:avLst/>
              <a:gdLst>
                <a:gd name="connsiteX0" fmla="*/ 0 w 85048"/>
                <a:gd name="connsiteY0" fmla="*/ 0 h 25740"/>
                <a:gd name="connsiteX1" fmla="*/ 85048 w 85048"/>
                <a:gd name="connsiteY1" fmla="*/ 0 h 25740"/>
                <a:gd name="connsiteX2" fmla="*/ 85048 w 85048"/>
                <a:gd name="connsiteY2" fmla="*/ 25741 h 25740"/>
                <a:gd name="connsiteX3" fmla="*/ 0 w 85048"/>
                <a:gd name="connsiteY3" fmla="*/ 25741 h 2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048" h="25740">
                  <a:moveTo>
                    <a:pt x="0" y="0"/>
                  </a:moveTo>
                  <a:lnTo>
                    <a:pt x="85048" y="0"/>
                  </a:lnTo>
                  <a:lnTo>
                    <a:pt x="85048" y="25741"/>
                  </a:lnTo>
                  <a:lnTo>
                    <a:pt x="0" y="25741"/>
                  </a:lnTo>
                  <a:close/>
                </a:path>
              </a:pathLst>
            </a:custGeom>
            <a:solidFill>
              <a:srgbClr val="90909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8" name="Freihandform: Form 17">
              <a:extLst>
                <a:ext uri="{FF2B5EF4-FFF2-40B4-BE49-F238E27FC236}">
                  <a16:creationId xmlns:a16="http://schemas.microsoft.com/office/drawing/2014/main" id="{B8694818-5147-CF9A-A62F-A0A16E6A38DF}"/>
                </a:ext>
              </a:extLst>
            </p:cNvPr>
            <p:cNvSpPr/>
            <p:nvPr/>
          </p:nvSpPr>
          <p:spPr>
            <a:xfrm flipH="1">
              <a:off x="8485566" y="4177940"/>
              <a:ext cx="1630009" cy="206182"/>
            </a:xfrm>
            <a:custGeom>
              <a:avLst/>
              <a:gdLst>
                <a:gd name="connsiteX0" fmla="*/ 178707 w 219327"/>
                <a:gd name="connsiteY0" fmla="*/ 0 h 27743"/>
                <a:gd name="connsiteX1" fmla="*/ 40546 w 219327"/>
                <a:gd name="connsiteY1" fmla="*/ 0 h 27743"/>
                <a:gd name="connsiteX2" fmla="*/ 33313 w 219327"/>
                <a:gd name="connsiteY2" fmla="*/ 2040 h 27743"/>
                <a:gd name="connsiteX3" fmla="*/ 1675 w 219327"/>
                <a:gd name="connsiteY3" fmla="*/ 21253 h 27743"/>
                <a:gd name="connsiteX4" fmla="*/ 3493 w 219327"/>
                <a:gd name="connsiteY4" fmla="*/ 27743 h 27743"/>
                <a:gd name="connsiteX5" fmla="*/ 215835 w 219327"/>
                <a:gd name="connsiteY5" fmla="*/ 27743 h 27743"/>
                <a:gd name="connsiteX6" fmla="*/ 217652 w 219327"/>
                <a:gd name="connsiteY6" fmla="*/ 21253 h 27743"/>
                <a:gd name="connsiteX7" fmla="*/ 186014 w 219327"/>
                <a:gd name="connsiteY7" fmla="*/ 2040 h 27743"/>
                <a:gd name="connsiteX8" fmla="*/ 178782 w 219327"/>
                <a:gd name="connsiteY8" fmla="*/ 0 h 277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9327" h="27743">
                  <a:moveTo>
                    <a:pt x="178707" y="0"/>
                  </a:moveTo>
                  <a:lnTo>
                    <a:pt x="40546" y="0"/>
                  </a:lnTo>
                  <a:cubicBezTo>
                    <a:pt x="37987" y="0"/>
                    <a:pt x="35502" y="705"/>
                    <a:pt x="33313" y="2040"/>
                  </a:cubicBezTo>
                  <a:lnTo>
                    <a:pt x="1675" y="21253"/>
                  </a:lnTo>
                  <a:cubicBezTo>
                    <a:pt x="-1329" y="23070"/>
                    <a:pt x="-31" y="27743"/>
                    <a:pt x="3493" y="27743"/>
                  </a:cubicBezTo>
                  <a:lnTo>
                    <a:pt x="215835" y="27743"/>
                  </a:lnTo>
                  <a:cubicBezTo>
                    <a:pt x="219358" y="27743"/>
                    <a:pt x="220657" y="23107"/>
                    <a:pt x="217652" y="21253"/>
                  </a:cubicBezTo>
                  <a:lnTo>
                    <a:pt x="186014" y="2040"/>
                  </a:lnTo>
                  <a:cubicBezTo>
                    <a:pt x="183826" y="705"/>
                    <a:pt x="181341" y="0"/>
                    <a:pt x="178782" y="0"/>
                  </a:cubicBezTo>
                </a:path>
              </a:pathLst>
            </a:custGeom>
            <a:solidFill>
              <a:srgbClr val="E2491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9" name="Freihandform: Form 18">
              <a:extLst>
                <a:ext uri="{FF2B5EF4-FFF2-40B4-BE49-F238E27FC236}">
                  <a16:creationId xmlns:a16="http://schemas.microsoft.com/office/drawing/2014/main" id="{CC88F7DF-38F4-A298-CA7D-3CE18895E3C5}"/>
                </a:ext>
              </a:extLst>
            </p:cNvPr>
            <p:cNvSpPr/>
            <p:nvPr/>
          </p:nvSpPr>
          <p:spPr>
            <a:xfrm flipH="1">
              <a:off x="8895223" y="5102472"/>
              <a:ext cx="100887" cy="191846"/>
            </a:xfrm>
            <a:custGeom>
              <a:avLst/>
              <a:gdLst>
                <a:gd name="connsiteX0" fmla="*/ 0 w 13575"/>
                <a:gd name="connsiteY0" fmla="*/ 0 h 25814"/>
                <a:gd name="connsiteX1" fmla="*/ 13575 w 13575"/>
                <a:gd name="connsiteY1" fmla="*/ 0 h 25814"/>
                <a:gd name="connsiteX2" fmla="*/ 13575 w 13575"/>
                <a:gd name="connsiteY2" fmla="*/ 25815 h 25814"/>
                <a:gd name="connsiteX3" fmla="*/ 0 w 13575"/>
                <a:gd name="connsiteY3" fmla="*/ 25815 h 258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25814">
                  <a:moveTo>
                    <a:pt x="0" y="0"/>
                  </a:moveTo>
                  <a:lnTo>
                    <a:pt x="13575" y="0"/>
                  </a:lnTo>
                  <a:lnTo>
                    <a:pt x="13575" y="25815"/>
                  </a:lnTo>
                  <a:lnTo>
                    <a:pt x="0" y="25815"/>
                  </a:lnTo>
                  <a:close/>
                </a:path>
              </a:pathLst>
            </a:custGeom>
            <a:solidFill>
              <a:srgbClr val="90909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1" name="Freihandform: Form 20">
              <a:extLst>
                <a:ext uri="{FF2B5EF4-FFF2-40B4-BE49-F238E27FC236}">
                  <a16:creationId xmlns:a16="http://schemas.microsoft.com/office/drawing/2014/main" id="{FF8F50DA-FD02-6B2D-9D32-D41F38D0D2E0}"/>
                </a:ext>
              </a:extLst>
            </p:cNvPr>
            <p:cNvSpPr/>
            <p:nvPr/>
          </p:nvSpPr>
          <p:spPr>
            <a:xfrm flipH="1">
              <a:off x="8895223" y="5102472"/>
              <a:ext cx="100887" cy="46583"/>
            </a:xfrm>
            <a:custGeom>
              <a:avLst/>
              <a:gdLst>
                <a:gd name="connsiteX0" fmla="*/ 0 w 13575"/>
                <a:gd name="connsiteY0" fmla="*/ 0 h 6268"/>
                <a:gd name="connsiteX1" fmla="*/ 13575 w 13575"/>
                <a:gd name="connsiteY1" fmla="*/ 0 h 6268"/>
                <a:gd name="connsiteX2" fmla="*/ 13575 w 13575"/>
                <a:gd name="connsiteY2" fmla="*/ 6268 h 6268"/>
                <a:gd name="connsiteX3" fmla="*/ 0 w 13575"/>
                <a:gd name="connsiteY3" fmla="*/ 6268 h 6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6268">
                  <a:moveTo>
                    <a:pt x="0" y="0"/>
                  </a:moveTo>
                  <a:lnTo>
                    <a:pt x="13575" y="0"/>
                  </a:lnTo>
                  <a:lnTo>
                    <a:pt x="13575" y="6268"/>
                  </a:lnTo>
                  <a:lnTo>
                    <a:pt x="0" y="6268"/>
                  </a:lnTo>
                  <a:close/>
                </a:path>
              </a:pathLst>
            </a:custGeom>
            <a:solidFill>
              <a:srgbClr val="5B5B5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2" name="Freihandform: Form 21">
              <a:extLst>
                <a:ext uri="{FF2B5EF4-FFF2-40B4-BE49-F238E27FC236}">
                  <a16:creationId xmlns:a16="http://schemas.microsoft.com/office/drawing/2014/main" id="{9FD12B8B-6326-1952-C429-58978339035A}"/>
                </a:ext>
              </a:extLst>
            </p:cNvPr>
            <p:cNvSpPr/>
            <p:nvPr/>
          </p:nvSpPr>
          <p:spPr>
            <a:xfrm flipH="1">
              <a:off x="8091156" y="5253249"/>
              <a:ext cx="595954" cy="310102"/>
            </a:xfrm>
            <a:custGeom>
              <a:avLst/>
              <a:gdLst>
                <a:gd name="connsiteX0" fmla="*/ 0 w 80189"/>
                <a:gd name="connsiteY0" fmla="*/ 0 h 41726"/>
                <a:gd name="connsiteX1" fmla="*/ 80189 w 80189"/>
                <a:gd name="connsiteY1" fmla="*/ 0 h 41726"/>
                <a:gd name="connsiteX2" fmla="*/ 80189 w 80189"/>
                <a:gd name="connsiteY2" fmla="*/ 41727 h 41726"/>
                <a:gd name="connsiteX3" fmla="*/ 0 w 80189"/>
                <a:gd name="connsiteY3" fmla="*/ 41727 h 417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189" h="41726">
                  <a:moveTo>
                    <a:pt x="0" y="0"/>
                  </a:moveTo>
                  <a:lnTo>
                    <a:pt x="80189" y="0"/>
                  </a:lnTo>
                  <a:lnTo>
                    <a:pt x="80189" y="41727"/>
                  </a:lnTo>
                  <a:lnTo>
                    <a:pt x="0" y="41727"/>
                  </a:lnTo>
                  <a:close/>
                </a:path>
              </a:pathLst>
            </a:custGeom>
            <a:solidFill>
              <a:srgbClr val="909090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3" name="Freihandform: Form 22">
              <a:extLst>
                <a:ext uri="{FF2B5EF4-FFF2-40B4-BE49-F238E27FC236}">
                  <a16:creationId xmlns:a16="http://schemas.microsoft.com/office/drawing/2014/main" id="{30E852FE-CBB8-AE9D-11CA-FC5BC59877A7}"/>
                </a:ext>
              </a:extLst>
            </p:cNvPr>
            <p:cNvSpPr/>
            <p:nvPr/>
          </p:nvSpPr>
          <p:spPr>
            <a:xfrm flipH="1">
              <a:off x="8091156" y="5197845"/>
              <a:ext cx="595954" cy="144438"/>
            </a:xfrm>
            <a:custGeom>
              <a:avLst/>
              <a:gdLst>
                <a:gd name="connsiteX0" fmla="*/ 0 w 80189"/>
                <a:gd name="connsiteY0" fmla="*/ 0 h 19435"/>
                <a:gd name="connsiteX1" fmla="*/ 80189 w 80189"/>
                <a:gd name="connsiteY1" fmla="*/ 0 h 19435"/>
                <a:gd name="connsiteX2" fmla="*/ 80189 w 80189"/>
                <a:gd name="connsiteY2" fmla="*/ 19435 h 19435"/>
                <a:gd name="connsiteX3" fmla="*/ 0 w 80189"/>
                <a:gd name="connsiteY3" fmla="*/ 19435 h 19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189" h="19435">
                  <a:moveTo>
                    <a:pt x="0" y="0"/>
                  </a:moveTo>
                  <a:lnTo>
                    <a:pt x="80189" y="0"/>
                  </a:lnTo>
                  <a:lnTo>
                    <a:pt x="80189" y="19435"/>
                  </a:lnTo>
                  <a:lnTo>
                    <a:pt x="0" y="19435"/>
                  </a:lnTo>
                  <a:close/>
                </a:path>
              </a:pathLst>
            </a:custGeom>
            <a:solidFill>
              <a:srgbClr val="5B5B5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8" name="Freihandform: Form 27">
              <a:extLst>
                <a:ext uri="{FF2B5EF4-FFF2-40B4-BE49-F238E27FC236}">
                  <a16:creationId xmlns:a16="http://schemas.microsoft.com/office/drawing/2014/main" id="{7EA14906-43C0-CC95-2403-746AEDBE9775}"/>
                </a:ext>
              </a:extLst>
            </p:cNvPr>
            <p:cNvSpPr/>
            <p:nvPr/>
          </p:nvSpPr>
          <p:spPr>
            <a:xfrm flipH="1">
              <a:off x="9117400" y="4477019"/>
              <a:ext cx="100887" cy="46583"/>
            </a:xfrm>
            <a:custGeom>
              <a:avLst/>
              <a:gdLst>
                <a:gd name="connsiteX0" fmla="*/ 0 w 13575"/>
                <a:gd name="connsiteY0" fmla="*/ 0 h 6268"/>
                <a:gd name="connsiteX1" fmla="*/ 13575 w 13575"/>
                <a:gd name="connsiteY1" fmla="*/ 0 h 6268"/>
                <a:gd name="connsiteX2" fmla="*/ 13575 w 13575"/>
                <a:gd name="connsiteY2" fmla="*/ 6268 h 6268"/>
                <a:gd name="connsiteX3" fmla="*/ 0 w 13575"/>
                <a:gd name="connsiteY3" fmla="*/ 6268 h 6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6268">
                  <a:moveTo>
                    <a:pt x="0" y="0"/>
                  </a:moveTo>
                  <a:lnTo>
                    <a:pt x="13575" y="0"/>
                  </a:lnTo>
                  <a:lnTo>
                    <a:pt x="13575" y="6268"/>
                  </a:lnTo>
                  <a:lnTo>
                    <a:pt x="0" y="6268"/>
                  </a:lnTo>
                  <a:close/>
                </a:path>
              </a:pathLst>
            </a:custGeom>
            <a:solidFill>
              <a:srgbClr val="5B5B5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ADAE776A-6841-134E-44A1-07C76DE50C58}"/>
                </a:ext>
              </a:extLst>
            </p:cNvPr>
            <p:cNvSpPr/>
            <p:nvPr/>
          </p:nvSpPr>
          <p:spPr>
            <a:xfrm flipH="1">
              <a:off x="8832648" y="4477019"/>
              <a:ext cx="100887" cy="46583"/>
            </a:xfrm>
            <a:custGeom>
              <a:avLst/>
              <a:gdLst>
                <a:gd name="connsiteX0" fmla="*/ 0 w 13575"/>
                <a:gd name="connsiteY0" fmla="*/ 0 h 6268"/>
                <a:gd name="connsiteX1" fmla="*/ 13575 w 13575"/>
                <a:gd name="connsiteY1" fmla="*/ 0 h 6268"/>
                <a:gd name="connsiteX2" fmla="*/ 13575 w 13575"/>
                <a:gd name="connsiteY2" fmla="*/ 6268 h 6268"/>
                <a:gd name="connsiteX3" fmla="*/ 0 w 13575"/>
                <a:gd name="connsiteY3" fmla="*/ 6268 h 6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575" h="6268">
                  <a:moveTo>
                    <a:pt x="0" y="0"/>
                  </a:moveTo>
                  <a:lnTo>
                    <a:pt x="13575" y="0"/>
                  </a:lnTo>
                  <a:lnTo>
                    <a:pt x="13575" y="6268"/>
                  </a:lnTo>
                  <a:lnTo>
                    <a:pt x="0" y="6268"/>
                  </a:lnTo>
                  <a:close/>
                </a:path>
              </a:pathLst>
            </a:custGeom>
            <a:solidFill>
              <a:srgbClr val="5B5B5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5BC859DF-71B2-301E-E7CE-42E1588D3D4A}"/>
                </a:ext>
              </a:extLst>
            </p:cNvPr>
            <p:cNvSpPr/>
            <p:nvPr/>
          </p:nvSpPr>
          <p:spPr>
            <a:xfrm flipH="1">
              <a:off x="9387260" y="5075458"/>
              <a:ext cx="632065" cy="46032"/>
            </a:xfrm>
            <a:custGeom>
              <a:avLst/>
              <a:gdLst>
                <a:gd name="connsiteX0" fmla="*/ 0 w 85048"/>
                <a:gd name="connsiteY0" fmla="*/ 0 h 6194"/>
                <a:gd name="connsiteX1" fmla="*/ 85048 w 85048"/>
                <a:gd name="connsiteY1" fmla="*/ 0 h 6194"/>
                <a:gd name="connsiteX2" fmla="*/ 85048 w 85048"/>
                <a:gd name="connsiteY2" fmla="*/ 6194 h 6194"/>
                <a:gd name="connsiteX3" fmla="*/ 0 w 85048"/>
                <a:gd name="connsiteY3" fmla="*/ 6194 h 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048" h="6194">
                  <a:moveTo>
                    <a:pt x="0" y="0"/>
                  </a:moveTo>
                  <a:lnTo>
                    <a:pt x="85048" y="0"/>
                  </a:lnTo>
                  <a:lnTo>
                    <a:pt x="85048" y="6194"/>
                  </a:lnTo>
                  <a:lnTo>
                    <a:pt x="0" y="6194"/>
                  </a:lnTo>
                  <a:close/>
                </a:path>
              </a:pathLst>
            </a:custGeom>
            <a:solidFill>
              <a:srgbClr val="5B5B5B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55BEC2B5-8703-C806-E0F8-32EB7D894964}"/>
                </a:ext>
              </a:extLst>
            </p:cNvPr>
            <p:cNvSpPr/>
            <p:nvPr/>
          </p:nvSpPr>
          <p:spPr>
            <a:xfrm flipH="1">
              <a:off x="7814959" y="5102472"/>
              <a:ext cx="871876" cy="174761"/>
            </a:xfrm>
            <a:custGeom>
              <a:avLst/>
              <a:gdLst>
                <a:gd name="connsiteX0" fmla="*/ 117317 w 117316"/>
                <a:gd name="connsiteY0" fmla="*/ 0 h 23515"/>
                <a:gd name="connsiteX1" fmla="*/ 0 w 117316"/>
                <a:gd name="connsiteY1" fmla="*/ 0 h 23515"/>
                <a:gd name="connsiteX2" fmla="*/ 0 w 117316"/>
                <a:gd name="connsiteY2" fmla="*/ 23515 h 23515"/>
                <a:gd name="connsiteX3" fmla="*/ 14651 w 117316"/>
                <a:gd name="connsiteY3" fmla="*/ 19213 h 23515"/>
                <a:gd name="connsiteX4" fmla="*/ 29301 w 117316"/>
                <a:gd name="connsiteY4" fmla="*/ 23515 h 23515"/>
                <a:gd name="connsiteX5" fmla="*/ 43952 w 117316"/>
                <a:gd name="connsiteY5" fmla="*/ 19213 h 23515"/>
                <a:gd name="connsiteX6" fmla="*/ 58603 w 117316"/>
                <a:gd name="connsiteY6" fmla="*/ 23515 h 23515"/>
                <a:gd name="connsiteX7" fmla="*/ 73253 w 117316"/>
                <a:gd name="connsiteY7" fmla="*/ 19213 h 23515"/>
                <a:gd name="connsiteX8" fmla="*/ 87941 w 117316"/>
                <a:gd name="connsiteY8" fmla="*/ 23515 h 23515"/>
                <a:gd name="connsiteX9" fmla="*/ 102629 w 117316"/>
                <a:gd name="connsiteY9" fmla="*/ 19213 h 23515"/>
                <a:gd name="connsiteX10" fmla="*/ 117317 w 117316"/>
                <a:gd name="connsiteY10" fmla="*/ 23515 h 23515"/>
                <a:gd name="connsiteX11" fmla="*/ 117317 w 117316"/>
                <a:gd name="connsiteY11" fmla="*/ 0 h 235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7316" h="23515">
                  <a:moveTo>
                    <a:pt x="117317" y="0"/>
                  </a:moveTo>
                  <a:lnTo>
                    <a:pt x="0" y="0"/>
                  </a:lnTo>
                  <a:lnTo>
                    <a:pt x="0" y="23515"/>
                  </a:lnTo>
                  <a:cubicBezTo>
                    <a:pt x="7344" y="23515"/>
                    <a:pt x="7344" y="19213"/>
                    <a:pt x="14651" y="19213"/>
                  </a:cubicBezTo>
                  <a:cubicBezTo>
                    <a:pt x="21958" y="19213"/>
                    <a:pt x="21995" y="23515"/>
                    <a:pt x="29301" y="23515"/>
                  </a:cubicBezTo>
                  <a:cubicBezTo>
                    <a:pt x="36608" y="23515"/>
                    <a:pt x="36645" y="19213"/>
                    <a:pt x="43952" y="19213"/>
                  </a:cubicBezTo>
                  <a:cubicBezTo>
                    <a:pt x="51259" y="19213"/>
                    <a:pt x="51296" y="23515"/>
                    <a:pt x="58603" y="23515"/>
                  </a:cubicBezTo>
                  <a:cubicBezTo>
                    <a:pt x="65910" y="23515"/>
                    <a:pt x="65947" y="19213"/>
                    <a:pt x="73253" y="19213"/>
                  </a:cubicBezTo>
                  <a:cubicBezTo>
                    <a:pt x="80560" y="19213"/>
                    <a:pt x="80597" y="23515"/>
                    <a:pt x="87941" y="23515"/>
                  </a:cubicBezTo>
                  <a:cubicBezTo>
                    <a:pt x="95285" y="23515"/>
                    <a:pt x="95285" y="19213"/>
                    <a:pt x="102629" y="19213"/>
                  </a:cubicBezTo>
                  <a:cubicBezTo>
                    <a:pt x="109973" y="19213"/>
                    <a:pt x="109973" y="23515"/>
                    <a:pt x="117317" y="23515"/>
                  </a:cubicBezTo>
                  <a:lnTo>
                    <a:pt x="117317" y="0"/>
                  </a:lnTo>
                  <a:close/>
                </a:path>
              </a:pathLst>
            </a:custGeom>
            <a:solidFill>
              <a:srgbClr val="FEFEF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8F180A35-0A2B-924D-9D80-6B1B25EA41D6}"/>
                </a:ext>
              </a:extLst>
            </p:cNvPr>
            <p:cNvSpPr/>
            <p:nvPr/>
          </p:nvSpPr>
          <p:spPr>
            <a:xfrm flipH="1">
              <a:off x="7814949" y="4954167"/>
              <a:ext cx="872152" cy="148295"/>
            </a:xfrm>
            <a:custGeom>
              <a:avLst/>
              <a:gdLst>
                <a:gd name="connsiteX0" fmla="*/ 117354 w 117353"/>
                <a:gd name="connsiteY0" fmla="*/ 19955 h 19954"/>
                <a:gd name="connsiteX1" fmla="*/ 0 w 117353"/>
                <a:gd name="connsiteY1" fmla="*/ 19955 h 19954"/>
                <a:gd name="connsiteX2" fmla="*/ 0 w 117353"/>
                <a:gd name="connsiteY2" fmla="*/ 0 h 19954"/>
                <a:gd name="connsiteX3" fmla="*/ 65316 w 117353"/>
                <a:gd name="connsiteY3" fmla="*/ 0 h 19954"/>
                <a:gd name="connsiteX4" fmla="*/ 117354 w 117353"/>
                <a:gd name="connsiteY4" fmla="*/ 19955 h 19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7353" h="19954">
                  <a:moveTo>
                    <a:pt x="117354" y="19955"/>
                  </a:moveTo>
                  <a:lnTo>
                    <a:pt x="0" y="19955"/>
                  </a:lnTo>
                  <a:lnTo>
                    <a:pt x="0" y="0"/>
                  </a:lnTo>
                  <a:lnTo>
                    <a:pt x="65316" y="0"/>
                  </a:lnTo>
                  <a:lnTo>
                    <a:pt x="117354" y="19955"/>
                  </a:lnTo>
                  <a:close/>
                </a:path>
              </a:pathLst>
            </a:custGeom>
            <a:solidFill>
              <a:srgbClr val="FDD35E"/>
            </a:solidFill>
            <a:ln w="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138" name="Freihandform: Form 137">
            <a:extLst>
              <a:ext uri="{FF2B5EF4-FFF2-40B4-BE49-F238E27FC236}">
                <a16:creationId xmlns:a16="http://schemas.microsoft.com/office/drawing/2014/main" id="{A01B8076-3B3F-47E6-70E3-530D63D2FF60}"/>
              </a:ext>
            </a:extLst>
          </p:cNvPr>
          <p:cNvSpPr/>
          <p:nvPr/>
        </p:nvSpPr>
        <p:spPr>
          <a:xfrm>
            <a:off x="1861408" y="6111396"/>
            <a:ext cx="1034192" cy="303052"/>
          </a:xfrm>
          <a:custGeom>
            <a:avLst/>
            <a:gdLst>
              <a:gd name="connsiteX0" fmla="*/ 0 w 1034192"/>
              <a:gd name="connsiteY0" fmla="*/ 0 h 303052"/>
              <a:gd name="connsiteX1" fmla="*/ 126174 w 1034192"/>
              <a:gd name="connsiteY1" fmla="*/ 0 h 303052"/>
              <a:gd name="connsiteX2" fmla="*/ 126174 w 1034192"/>
              <a:gd name="connsiteY2" fmla="*/ 148030 h 303052"/>
              <a:gd name="connsiteX3" fmla="*/ 154877 w 1034192"/>
              <a:gd name="connsiteY3" fmla="*/ 176733 h 303052"/>
              <a:gd name="connsiteX4" fmla="*/ 666460 w 1034192"/>
              <a:gd name="connsiteY4" fmla="*/ 176733 h 303052"/>
              <a:gd name="connsiteX5" fmla="*/ 1034192 w 1034192"/>
              <a:gd name="connsiteY5" fmla="*/ 176733 h 303052"/>
              <a:gd name="connsiteX6" fmla="*/ 1034192 w 1034192"/>
              <a:gd name="connsiteY6" fmla="*/ 303052 h 303052"/>
              <a:gd name="connsiteX7" fmla="*/ 155022 w 1034192"/>
              <a:gd name="connsiteY7" fmla="*/ 303052 h 303052"/>
              <a:gd name="connsiteX8" fmla="*/ 0 w 1034192"/>
              <a:gd name="connsiteY8" fmla="*/ 148030 h 3030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34192" h="303052">
                <a:moveTo>
                  <a:pt x="0" y="0"/>
                </a:moveTo>
                <a:lnTo>
                  <a:pt x="126174" y="0"/>
                </a:lnTo>
                <a:lnTo>
                  <a:pt x="126174" y="148030"/>
                </a:lnTo>
                <a:cubicBezTo>
                  <a:pt x="126174" y="163763"/>
                  <a:pt x="138995" y="176733"/>
                  <a:pt x="154877" y="176733"/>
                </a:cubicBezTo>
                <a:cubicBezTo>
                  <a:pt x="154877" y="176733"/>
                  <a:pt x="359510" y="176733"/>
                  <a:pt x="666460" y="176733"/>
                </a:cubicBezTo>
                <a:lnTo>
                  <a:pt x="1034192" y="176733"/>
                </a:lnTo>
                <a:lnTo>
                  <a:pt x="1034192" y="303052"/>
                </a:lnTo>
                <a:lnTo>
                  <a:pt x="155022" y="303052"/>
                </a:lnTo>
                <a:cubicBezTo>
                  <a:pt x="69498" y="303052"/>
                  <a:pt x="0" y="233409"/>
                  <a:pt x="0" y="148030"/>
                </a:cubicBezTo>
                <a:close/>
              </a:path>
            </a:pathLst>
          </a:custGeom>
          <a:solidFill>
            <a:srgbClr val="424242"/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sp>
        <p:nvSpPr>
          <p:cNvPr id="177" name="Freihandform: Form 176">
            <a:extLst>
              <a:ext uri="{FF2B5EF4-FFF2-40B4-BE49-F238E27FC236}">
                <a16:creationId xmlns:a16="http://schemas.microsoft.com/office/drawing/2014/main" id="{CBF4BB84-AE27-B9E8-BF57-DF05BF25914E}"/>
              </a:ext>
            </a:extLst>
          </p:cNvPr>
          <p:cNvSpPr/>
          <p:nvPr/>
        </p:nvSpPr>
        <p:spPr>
          <a:xfrm>
            <a:off x="1897248" y="6111542"/>
            <a:ext cx="998352" cy="266630"/>
          </a:xfrm>
          <a:custGeom>
            <a:avLst/>
            <a:gdLst>
              <a:gd name="connsiteX0" fmla="*/ 0 w 998352"/>
              <a:gd name="connsiteY0" fmla="*/ 0 h 266630"/>
              <a:gd name="connsiteX1" fmla="*/ 54056 w 998352"/>
              <a:gd name="connsiteY1" fmla="*/ 0 h 266630"/>
              <a:gd name="connsiteX2" fmla="*/ 54056 w 998352"/>
              <a:gd name="connsiteY2" fmla="*/ 147739 h 266630"/>
              <a:gd name="connsiteX3" fmla="*/ 118891 w 998352"/>
              <a:gd name="connsiteY3" fmla="*/ 212574 h 266630"/>
              <a:gd name="connsiteX4" fmla="*/ 630474 w 998352"/>
              <a:gd name="connsiteY4" fmla="*/ 212574 h 266630"/>
              <a:gd name="connsiteX5" fmla="*/ 998352 w 998352"/>
              <a:gd name="connsiteY5" fmla="*/ 212574 h 266630"/>
              <a:gd name="connsiteX6" fmla="*/ 998352 w 998352"/>
              <a:gd name="connsiteY6" fmla="*/ 266630 h 266630"/>
              <a:gd name="connsiteX7" fmla="*/ 118891 w 998352"/>
              <a:gd name="connsiteY7" fmla="*/ 266630 h 266630"/>
              <a:gd name="connsiteX8" fmla="*/ 0 w 998352"/>
              <a:gd name="connsiteY8" fmla="*/ 147739 h 266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98352" h="266630">
                <a:moveTo>
                  <a:pt x="0" y="0"/>
                </a:moveTo>
                <a:lnTo>
                  <a:pt x="54056" y="0"/>
                </a:lnTo>
                <a:lnTo>
                  <a:pt x="54056" y="147739"/>
                </a:lnTo>
                <a:cubicBezTo>
                  <a:pt x="54056" y="183580"/>
                  <a:pt x="83195" y="212574"/>
                  <a:pt x="118891" y="212574"/>
                </a:cubicBezTo>
                <a:cubicBezTo>
                  <a:pt x="118891" y="212574"/>
                  <a:pt x="323524" y="212574"/>
                  <a:pt x="630474" y="212574"/>
                </a:cubicBezTo>
                <a:lnTo>
                  <a:pt x="998352" y="212574"/>
                </a:lnTo>
                <a:lnTo>
                  <a:pt x="998352" y="266630"/>
                </a:lnTo>
                <a:lnTo>
                  <a:pt x="118891" y="266630"/>
                </a:lnTo>
                <a:cubicBezTo>
                  <a:pt x="53325" y="266630"/>
                  <a:pt x="0" y="213301"/>
                  <a:pt x="0" y="147739"/>
                </a:cubicBezTo>
                <a:close/>
              </a:path>
            </a:pathLst>
          </a:custGeom>
          <a:solidFill>
            <a:srgbClr val="FC6538"/>
          </a:solidFill>
          <a:ln w="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/>
          </a:p>
        </p:txBody>
      </p:sp>
      <p:grpSp>
        <p:nvGrpSpPr>
          <p:cNvPr id="135" name="Gruppieren 134">
            <a:extLst>
              <a:ext uri="{FF2B5EF4-FFF2-40B4-BE49-F238E27FC236}">
                <a16:creationId xmlns:a16="http://schemas.microsoft.com/office/drawing/2014/main" id="{EB12F501-CEC9-F129-3E1F-951887FE8136}"/>
              </a:ext>
            </a:extLst>
          </p:cNvPr>
          <p:cNvGrpSpPr/>
          <p:nvPr/>
        </p:nvGrpSpPr>
        <p:grpSpPr>
          <a:xfrm flipH="1">
            <a:off x="5943600" y="6111396"/>
            <a:ext cx="3043781" cy="303052"/>
            <a:chOff x="3052219" y="6096000"/>
            <a:chExt cx="3043781" cy="303052"/>
          </a:xfrm>
        </p:grpSpPr>
        <p:sp>
          <p:nvSpPr>
            <p:cNvPr id="81" name="Freihandform: Form 80">
              <a:extLst>
                <a:ext uri="{FF2B5EF4-FFF2-40B4-BE49-F238E27FC236}">
                  <a16:creationId xmlns:a16="http://schemas.microsoft.com/office/drawing/2014/main" id="{E8F2F386-988C-1B73-A3C3-DB8406BA3AE8}"/>
                </a:ext>
              </a:extLst>
            </p:cNvPr>
            <p:cNvSpPr/>
            <p:nvPr/>
          </p:nvSpPr>
          <p:spPr>
            <a:xfrm flipH="1">
              <a:off x="3052219" y="6096000"/>
              <a:ext cx="3043781" cy="303052"/>
            </a:xfrm>
            <a:custGeom>
              <a:avLst/>
              <a:gdLst>
                <a:gd name="connsiteX0" fmla="*/ 2258468 w 3043781"/>
                <a:gd name="connsiteY0" fmla="*/ 0 h 303052"/>
                <a:gd name="connsiteX1" fmla="*/ 2385078 w 3043781"/>
                <a:gd name="connsiteY1" fmla="*/ 0 h 303052"/>
                <a:gd name="connsiteX2" fmla="*/ 2385078 w 3043781"/>
                <a:gd name="connsiteY2" fmla="*/ 148030 h 303052"/>
                <a:gd name="connsiteX3" fmla="*/ 2413781 w 3043781"/>
                <a:gd name="connsiteY3" fmla="*/ 176733 h 303052"/>
                <a:gd name="connsiteX4" fmla="*/ 3043490 w 3043781"/>
                <a:gd name="connsiteY4" fmla="*/ 176733 h 303052"/>
                <a:gd name="connsiteX5" fmla="*/ 3043490 w 3043781"/>
                <a:gd name="connsiteY5" fmla="*/ 302907 h 303052"/>
                <a:gd name="connsiteX6" fmla="*/ 3043781 w 3043781"/>
                <a:gd name="connsiteY6" fmla="*/ 303052 h 303052"/>
                <a:gd name="connsiteX7" fmla="*/ 2414076 w 3043781"/>
                <a:gd name="connsiteY7" fmla="*/ 303052 h 303052"/>
                <a:gd name="connsiteX8" fmla="*/ 2321991 w 3043781"/>
                <a:gd name="connsiteY8" fmla="*/ 272456 h 303052"/>
                <a:gd name="connsiteX9" fmla="*/ 2229910 w 3043781"/>
                <a:gd name="connsiteY9" fmla="*/ 303052 h 303052"/>
                <a:gd name="connsiteX10" fmla="*/ 1645662 w 3043781"/>
                <a:gd name="connsiteY10" fmla="*/ 303052 h 303052"/>
                <a:gd name="connsiteX11" fmla="*/ 0 w 3043781"/>
                <a:gd name="connsiteY11" fmla="*/ 303052 h 303052"/>
                <a:gd name="connsiteX12" fmla="*/ 0 w 3043781"/>
                <a:gd name="connsiteY12" fmla="*/ 176733 h 303052"/>
                <a:gd name="connsiteX13" fmla="*/ 564250 w 3043781"/>
                <a:gd name="connsiteY13" fmla="*/ 176733 h 303052"/>
                <a:gd name="connsiteX14" fmla="*/ 1600205 w 3043781"/>
                <a:gd name="connsiteY14" fmla="*/ 176733 h 303052"/>
                <a:gd name="connsiteX15" fmla="*/ 2229764 w 3043781"/>
                <a:gd name="connsiteY15" fmla="*/ 176733 h 303052"/>
                <a:gd name="connsiteX16" fmla="*/ 2258468 w 3043781"/>
                <a:gd name="connsiteY16" fmla="*/ 148030 h 303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043781" h="303052">
                  <a:moveTo>
                    <a:pt x="2258468" y="0"/>
                  </a:moveTo>
                  <a:lnTo>
                    <a:pt x="2385078" y="0"/>
                  </a:lnTo>
                  <a:lnTo>
                    <a:pt x="2385078" y="148030"/>
                  </a:lnTo>
                  <a:cubicBezTo>
                    <a:pt x="2385078" y="163912"/>
                    <a:pt x="2397899" y="176733"/>
                    <a:pt x="2413781" y="176733"/>
                  </a:cubicBezTo>
                  <a:lnTo>
                    <a:pt x="3043490" y="176733"/>
                  </a:lnTo>
                  <a:lnTo>
                    <a:pt x="3043490" y="302907"/>
                  </a:lnTo>
                  <a:lnTo>
                    <a:pt x="3043781" y="303052"/>
                  </a:lnTo>
                  <a:lnTo>
                    <a:pt x="2414076" y="303052"/>
                  </a:lnTo>
                  <a:cubicBezTo>
                    <a:pt x="2379542" y="303052"/>
                    <a:pt x="2347779" y="291543"/>
                    <a:pt x="2321991" y="272456"/>
                  </a:cubicBezTo>
                  <a:cubicBezTo>
                    <a:pt x="2296202" y="291543"/>
                    <a:pt x="2264443" y="303052"/>
                    <a:pt x="2229910" y="303052"/>
                  </a:cubicBezTo>
                  <a:cubicBezTo>
                    <a:pt x="2229910" y="303052"/>
                    <a:pt x="1645662" y="303052"/>
                    <a:pt x="1645662" y="303052"/>
                  </a:cubicBezTo>
                  <a:lnTo>
                    <a:pt x="0" y="303052"/>
                  </a:lnTo>
                  <a:lnTo>
                    <a:pt x="0" y="176733"/>
                  </a:lnTo>
                  <a:lnTo>
                    <a:pt x="564250" y="176733"/>
                  </a:lnTo>
                  <a:cubicBezTo>
                    <a:pt x="1139781" y="176733"/>
                    <a:pt x="1600205" y="176733"/>
                    <a:pt x="1600205" y="176733"/>
                  </a:cubicBezTo>
                  <a:lnTo>
                    <a:pt x="2229764" y="176733"/>
                  </a:lnTo>
                  <a:cubicBezTo>
                    <a:pt x="2245501" y="176733"/>
                    <a:pt x="2258468" y="163912"/>
                    <a:pt x="2258468" y="148030"/>
                  </a:cubicBezTo>
                  <a:close/>
                </a:path>
              </a:pathLst>
            </a:custGeom>
            <a:solidFill>
              <a:srgbClr val="424242"/>
            </a:solidFill>
            <a:ln w="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de-DE"/>
            </a:p>
          </p:txBody>
        </p:sp>
        <p:sp>
          <p:nvSpPr>
            <p:cNvPr id="134" name="Freihandform: Form 133">
              <a:extLst>
                <a:ext uri="{FF2B5EF4-FFF2-40B4-BE49-F238E27FC236}">
                  <a16:creationId xmlns:a16="http://schemas.microsoft.com/office/drawing/2014/main" id="{38993352-BB1C-2D44-ADDE-B1A536B1C304}"/>
                </a:ext>
              </a:extLst>
            </p:cNvPr>
            <p:cNvSpPr/>
            <p:nvPr/>
          </p:nvSpPr>
          <p:spPr>
            <a:xfrm flipH="1">
              <a:off x="3052219" y="6096000"/>
              <a:ext cx="3043486" cy="266776"/>
            </a:xfrm>
            <a:custGeom>
              <a:avLst/>
              <a:gdLst>
                <a:gd name="connsiteX0" fmla="*/ 2294454 w 3043486"/>
                <a:gd name="connsiteY0" fmla="*/ 0 h 266776"/>
                <a:gd name="connsiteX1" fmla="*/ 2348946 w 3043486"/>
                <a:gd name="connsiteY1" fmla="*/ 0 h 266776"/>
                <a:gd name="connsiteX2" fmla="*/ 2348946 w 3043486"/>
                <a:gd name="connsiteY2" fmla="*/ 147885 h 266776"/>
                <a:gd name="connsiteX3" fmla="*/ 2413780 w 3043486"/>
                <a:gd name="connsiteY3" fmla="*/ 212720 h 266776"/>
                <a:gd name="connsiteX4" fmla="*/ 3043486 w 3043486"/>
                <a:gd name="connsiteY4" fmla="*/ 212720 h 266776"/>
                <a:gd name="connsiteX5" fmla="*/ 3043486 w 3043486"/>
                <a:gd name="connsiteY5" fmla="*/ 266776 h 266776"/>
                <a:gd name="connsiteX6" fmla="*/ 2413780 w 3043486"/>
                <a:gd name="connsiteY6" fmla="*/ 266776 h 266776"/>
                <a:gd name="connsiteX7" fmla="*/ 2321700 w 3043486"/>
                <a:gd name="connsiteY7" fmla="*/ 222191 h 266776"/>
                <a:gd name="connsiteX8" fmla="*/ 2229619 w 3043486"/>
                <a:gd name="connsiteY8" fmla="*/ 266776 h 266776"/>
                <a:gd name="connsiteX9" fmla="*/ 1645370 w 3043486"/>
                <a:gd name="connsiteY9" fmla="*/ 266776 h 266776"/>
                <a:gd name="connsiteX10" fmla="*/ 0 w 3043486"/>
                <a:gd name="connsiteY10" fmla="*/ 266776 h 266776"/>
                <a:gd name="connsiteX11" fmla="*/ 0 w 3043486"/>
                <a:gd name="connsiteY11" fmla="*/ 212720 h 266776"/>
                <a:gd name="connsiteX12" fmla="*/ 564104 w 3043486"/>
                <a:gd name="connsiteY12" fmla="*/ 212720 h 266776"/>
                <a:gd name="connsiteX13" fmla="*/ 1600059 w 3043486"/>
                <a:gd name="connsiteY13" fmla="*/ 212720 h 266776"/>
                <a:gd name="connsiteX14" fmla="*/ 2229619 w 3043486"/>
                <a:gd name="connsiteY14" fmla="*/ 212720 h 266776"/>
                <a:gd name="connsiteX15" fmla="*/ 2294454 w 3043486"/>
                <a:gd name="connsiteY15" fmla="*/ 147885 h 266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43486" h="266776">
                  <a:moveTo>
                    <a:pt x="2294454" y="0"/>
                  </a:moveTo>
                  <a:lnTo>
                    <a:pt x="2348946" y="0"/>
                  </a:lnTo>
                  <a:lnTo>
                    <a:pt x="2348946" y="147885"/>
                  </a:lnTo>
                  <a:cubicBezTo>
                    <a:pt x="2348946" y="183581"/>
                    <a:pt x="2378085" y="212720"/>
                    <a:pt x="2413780" y="212720"/>
                  </a:cubicBezTo>
                  <a:lnTo>
                    <a:pt x="3043486" y="212720"/>
                  </a:lnTo>
                  <a:lnTo>
                    <a:pt x="3043486" y="266776"/>
                  </a:lnTo>
                  <a:lnTo>
                    <a:pt x="2413780" y="266776"/>
                  </a:lnTo>
                  <a:cubicBezTo>
                    <a:pt x="2376482" y="266776"/>
                    <a:pt x="2343552" y="249146"/>
                    <a:pt x="2321700" y="222191"/>
                  </a:cubicBezTo>
                  <a:cubicBezTo>
                    <a:pt x="2299843" y="249146"/>
                    <a:pt x="2266917" y="266776"/>
                    <a:pt x="2229619" y="266776"/>
                  </a:cubicBezTo>
                  <a:cubicBezTo>
                    <a:pt x="2229619" y="266776"/>
                    <a:pt x="1645370" y="266776"/>
                    <a:pt x="1645370" y="266776"/>
                  </a:cubicBezTo>
                  <a:lnTo>
                    <a:pt x="0" y="266776"/>
                  </a:lnTo>
                  <a:lnTo>
                    <a:pt x="0" y="212720"/>
                  </a:lnTo>
                  <a:lnTo>
                    <a:pt x="564104" y="212720"/>
                  </a:lnTo>
                  <a:cubicBezTo>
                    <a:pt x="1139635" y="212720"/>
                    <a:pt x="1600059" y="212720"/>
                    <a:pt x="1600059" y="212720"/>
                  </a:cubicBezTo>
                  <a:lnTo>
                    <a:pt x="2229619" y="212720"/>
                  </a:lnTo>
                  <a:cubicBezTo>
                    <a:pt x="2265314" y="212720"/>
                    <a:pt x="2294454" y="183581"/>
                    <a:pt x="2294454" y="147885"/>
                  </a:cubicBezTo>
                  <a:close/>
                </a:path>
              </a:pathLst>
            </a:custGeom>
            <a:solidFill>
              <a:srgbClr val="FC6538"/>
            </a:solidFill>
            <a:ln w="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de-DE"/>
            </a:p>
          </p:txBody>
        </p:sp>
      </p:grpSp>
      <p:grpSp>
        <p:nvGrpSpPr>
          <p:cNvPr id="242" name="Gruppieren 241">
            <a:extLst>
              <a:ext uri="{FF2B5EF4-FFF2-40B4-BE49-F238E27FC236}">
                <a16:creationId xmlns:a16="http://schemas.microsoft.com/office/drawing/2014/main" id="{35059C08-A98F-FFF9-9036-981DEC8840E9}"/>
              </a:ext>
            </a:extLst>
          </p:cNvPr>
          <p:cNvGrpSpPr/>
          <p:nvPr/>
        </p:nvGrpSpPr>
        <p:grpSpPr>
          <a:xfrm>
            <a:off x="2438400" y="5562600"/>
            <a:ext cx="899241" cy="899241"/>
            <a:chOff x="2438400" y="5562600"/>
            <a:chExt cx="899241" cy="899241"/>
          </a:xfrm>
        </p:grpSpPr>
        <p:sp>
          <p:nvSpPr>
            <p:cNvPr id="264" name="Ellipse 263">
              <a:extLst>
                <a:ext uri="{FF2B5EF4-FFF2-40B4-BE49-F238E27FC236}">
                  <a16:creationId xmlns:a16="http://schemas.microsoft.com/office/drawing/2014/main" id="{2C19FF4A-2910-8F89-DF1F-08C1F5B27B40}"/>
                </a:ext>
              </a:extLst>
            </p:cNvPr>
            <p:cNvSpPr/>
            <p:nvPr/>
          </p:nvSpPr>
          <p:spPr bwMode="gray">
            <a:xfrm>
              <a:off x="2438400" y="5562600"/>
              <a:ext cx="899241" cy="899241"/>
            </a:xfrm>
            <a:prstGeom prst="ellipse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180000" rIns="0" bIns="0" numCol="1" rtlCol="0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Aft>
                  <a:spcPct val="0"/>
                </a:spcAft>
              </a:pPr>
              <a:r>
                <a:rPr lang="de-DE" sz="1200">
                  <a:solidFill>
                    <a:schemeClr val="bg1"/>
                  </a:solidFill>
                  <a:cs typeface="EnBW DIN Pro Medium" panose="020B0604020101020102" pitchFamily="34" charset="0"/>
                </a:rPr>
                <a:t>FTTB</a:t>
              </a:r>
              <a:br>
                <a:rPr lang="de-DE" sz="1200">
                  <a:solidFill>
                    <a:schemeClr val="bg1"/>
                  </a:solidFill>
                  <a:cs typeface="EnBW DIN Pro Medium" panose="020B0604020101020102" pitchFamily="34" charset="0"/>
                </a:rPr>
              </a:br>
              <a:r>
                <a:rPr lang="de-DE" sz="1000">
                  <a:solidFill>
                    <a:schemeClr val="bg1"/>
                  </a:solidFill>
                  <a:latin typeface="EnBW DIN Pro Medium" panose="020B0604020101020102" pitchFamily="34" charset="0"/>
                  <a:cs typeface="EnBW DIN Pro Medium" panose="020B0604020101020102" pitchFamily="34" charset="0"/>
                </a:rPr>
                <a:t>Glasfaser</a:t>
              </a:r>
            </a:p>
          </p:txBody>
        </p:sp>
        <p:pic>
          <p:nvPicPr>
            <p:cNvPr id="265" name="Grafik 264">
              <a:extLst>
                <a:ext uri="{FF2B5EF4-FFF2-40B4-BE49-F238E27FC236}">
                  <a16:creationId xmlns:a16="http://schemas.microsoft.com/office/drawing/2014/main" id="{4E3AB1E5-7441-68CC-2E7C-14F1AAF08AD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776536" y="5622569"/>
              <a:ext cx="222968" cy="222968"/>
            </a:xfrm>
            <a:prstGeom prst="rect">
              <a:avLst/>
            </a:prstGeom>
          </p:spPr>
        </p:pic>
      </p:grpSp>
      <p:grpSp>
        <p:nvGrpSpPr>
          <p:cNvPr id="241" name="Gruppieren 240">
            <a:extLst>
              <a:ext uri="{FF2B5EF4-FFF2-40B4-BE49-F238E27FC236}">
                <a16:creationId xmlns:a16="http://schemas.microsoft.com/office/drawing/2014/main" id="{C9E6EC84-D8F0-6435-546A-8F7EE4215819}"/>
              </a:ext>
            </a:extLst>
          </p:cNvPr>
          <p:cNvGrpSpPr/>
          <p:nvPr/>
        </p:nvGrpSpPr>
        <p:grpSpPr>
          <a:xfrm>
            <a:off x="7101759" y="5562600"/>
            <a:ext cx="899241" cy="899241"/>
            <a:chOff x="7101759" y="5562600"/>
            <a:chExt cx="899241" cy="899241"/>
          </a:xfrm>
        </p:grpSpPr>
        <p:sp>
          <p:nvSpPr>
            <p:cNvPr id="239" name="Ellipse 238">
              <a:extLst>
                <a:ext uri="{FF2B5EF4-FFF2-40B4-BE49-F238E27FC236}">
                  <a16:creationId xmlns:a16="http://schemas.microsoft.com/office/drawing/2014/main" id="{62AF3F01-63E8-5432-B2E4-BDCA3415C9C7}"/>
                </a:ext>
              </a:extLst>
            </p:cNvPr>
            <p:cNvSpPr/>
            <p:nvPr/>
          </p:nvSpPr>
          <p:spPr bwMode="gray">
            <a:xfrm>
              <a:off x="7101759" y="5562600"/>
              <a:ext cx="899241" cy="899241"/>
            </a:xfrm>
            <a:prstGeom prst="ellipse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180000" rIns="0" bIns="0" numCol="1" rtlCol="0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Aft>
                  <a:spcPct val="0"/>
                </a:spcAft>
              </a:pPr>
              <a:r>
                <a:rPr lang="de-DE" sz="1200">
                  <a:solidFill>
                    <a:schemeClr val="bg1"/>
                  </a:solidFill>
                  <a:cs typeface="EnBW DIN Pro Medium" panose="020B0604020101020102" pitchFamily="34" charset="0"/>
                </a:rPr>
                <a:t>FTTC</a:t>
              </a:r>
              <a:br>
                <a:rPr lang="de-DE" sz="1200">
                  <a:solidFill>
                    <a:schemeClr val="bg1"/>
                  </a:solidFill>
                  <a:cs typeface="EnBW DIN Pro Medium" panose="020B0604020101020102" pitchFamily="34" charset="0"/>
                </a:rPr>
              </a:br>
              <a:r>
                <a:rPr lang="de-DE" sz="1000">
                  <a:solidFill>
                    <a:schemeClr val="bg1"/>
                  </a:solidFill>
                  <a:latin typeface="EnBW DIN Pro Medium" panose="020B0604020101020102" pitchFamily="34" charset="0"/>
                  <a:cs typeface="EnBW DIN Pro Medium" panose="020B0604020101020102" pitchFamily="34" charset="0"/>
                </a:rPr>
                <a:t>Glasfaser /</a:t>
              </a:r>
              <a:br>
                <a:rPr lang="de-DE" sz="1000">
                  <a:solidFill>
                    <a:schemeClr val="bg1"/>
                  </a:solidFill>
                  <a:latin typeface="EnBW DIN Pro Medium" panose="020B0604020101020102" pitchFamily="34" charset="0"/>
                  <a:cs typeface="EnBW DIN Pro Medium" panose="020B0604020101020102" pitchFamily="34" charset="0"/>
                </a:rPr>
              </a:br>
              <a:r>
                <a:rPr lang="de-DE" sz="1000">
                  <a:solidFill>
                    <a:schemeClr val="bg1"/>
                  </a:solidFill>
                  <a:latin typeface="EnBW DIN Pro Medium" panose="020B0604020101020102" pitchFamily="34" charset="0"/>
                  <a:cs typeface="EnBW DIN Pro Medium" panose="020B0604020101020102" pitchFamily="34" charset="0"/>
                </a:rPr>
                <a:t>Kupfer</a:t>
              </a:r>
            </a:p>
          </p:txBody>
        </p:sp>
        <p:pic>
          <p:nvPicPr>
            <p:cNvPr id="240" name="Grafik 239">
              <a:extLst>
                <a:ext uri="{FF2B5EF4-FFF2-40B4-BE49-F238E27FC236}">
                  <a16:creationId xmlns:a16="http://schemas.microsoft.com/office/drawing/2014/main" id="{E3DA2FF3-FB94-0ECD-D68D-DBA462C1AF9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439895" y="5622569"/>
              <a:ext cx="222968" cy="222968"/>
            </a:xfrm>
            <a:prstGeom prst="rect">
              <a:avLst/>
            </a:prstGeom>
          </p:spPr>
        </p:pic>
      </p:grpSp>
      <p:grpSp>
        <p:nvGrpSpPr>
          <p:cNvPr id="178" name="Gruppieren 177">
            <a:extLst>
              <a:ext uri="{FF2B5EF4-FFF2-40B4-BE49-F238E27FC236}">
                <a16:creationId xmlns:a16="http://schemas.microsoft.com/office/drawing/2014/main" id="{5D1C8E06-1AD5-E47C-F854-044360537428}"/>
              </a:ext>
            </a:extLst>
          </p:cNvPr>
          <p:cNvGrpSpPr/>
          <p:nvPr/>
        </p:nvGrpSpPr>
        <p:grpSpPr>
          <a:xfrm flipH="1">
            <a:off x="8915400" y="6111396"/>
            <a:ext cx="3043781" cy="303052"/>
            <a:chOff x="3052219" y="6096000"/>
            <a:chExt cx="3043781" cy="303052"/>
          </a:xfrm>
        </p:grpSpPr>
        <p:sp>
          <p:nvSpPr>
            <p:cNvPr id="179" name="Freihandform: Form 178">
              <a:extLst>
                <a:ext uri="{FF2B5EF4-FFF2-40B4-BE49-F238E27FC236}">
                  <a16:creationId xmlns:a16="http://schemas.microsoft.com/office/drawing/2014/main" id="{0503295B-8A4B-93D5-6F20-3D01C82581E8}"/>
                </a:ext>
              </a:extLst>
            </p:cNvPr>
            <p:cNvSpPr/>
            <p:nvPr/>
          </p:nvSpPr>
          <p:spPr>
            <a:xfrm flipH="1">
              <a:off x="3052219" y="6096000"/>
              <a:ext cx="3043781" cy="303052"/>
            </a:xfrm>
            <a:custGeom>
              <a:avLst/>
              <a:gdLst>
                <a:gd name="connsiteX0" fmla="*/ 2258468 w 3043781"/>
                <a:gd name="connsiteY0" fmla="*/ 0 h 303052"/>
                <a:gd name="connsiteX1" fmla="*/ 2385078 w 3043781"/>
                <a:gd name="connsiteY1" fmla="*/ 0 h 303052"/>
                <a:gd name="connsiteX2" fmla="*/ 2385078 w 3043781"/>
                <a:gd name="connsiteY2" fmla="*/ 148030 h 303052"/>
                <a:gd name="connsiteX3" fmla="*/ 2413781 w 3043781"/>
                <a:gd name="connsiteY3" fmla="*/ 176733 h 303052"/>
                <a:gd name="connsiteX4" fmla="*/ 3043490 w 3043781"/>
                <a:gd name="connsiteY4" fmla="*/ 176733 h 303052"/>
                <a:gd name="connsiteX5" fmla="*/ 3043490 w 3043781"/>
                <a:gd name="connsiteY5" fmla="*/ 302907 h 303052"/>
                <a:gd name="connsiteX6" fmla="*/ 3043781 w 3043781"/>
                <a:gd name="connsiteY6" fmla="*/ 303052 h 303052"/>
                <a:gd name="connsiteX7" fmla="*/ 2414076 w 3043781"/>
                <a:gd name="connsiteY7" fmla="*/ 303052 h 303052"/>
                <a:gd name="connsiteX8" fmla="*/ 2321991 w 3043781"/>
                <a:gd name="connsiteY8" fmla="*/ 272456 h 303052"/>
                <a:gd name="connsiteX9" fmla="*/ 2229910 w 3043781"/>
                <a:gd name="connsiteY9" fmla="*/ 303052 h 303052"/>
                <a:gd name="connsiteX10" fmla="*/ 1645662 w 3043781"/>
                <a:gd name="connsiteY10" fmla="*/ 303052 h 303052"/>
                <a:gd name="connsiteX11" fmla="*/ 0 w 3043781"/>
                <a:gd name="connsiteY11" fmla="*/ 303052 h 303052"/>
                <a:gd name="connsiteX12" fmla="*/ 0 w 3043781"/>
                <a:gd name="connsiteY12" fmla="*/ 176733 h 303052"/>
                <a:gd name="connsiteX13" fmla="*/ 564250 w 3043781"/>
                <a:gd name="connsiteY13" fmla="*/ 176733 h 303052"/>
                <a:gd name="connsiteX14" fmla="*/ 1600205 w 3043781"/>
                <a:gd name="connsiteY14" fmla="*/ 176733 h 303052"/>
                <a:gd name="connsiteX15" fmla="*/ 2229764 w 3043781"/>
                <a:gd name="connsiteY15" fmla="*/ 176733 h 303052"/>
                <a:gd name="connsiteX16" fmla="*/ 2258468 w 3043781"/>
                <a:gd name="connsiteY16" fmla="*/ 148030 h 3030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043781" h="303052">
                  <a:moveTo>
                    <a:pt x="2258468" y="0"/>
                  </a:moveTo>
                  <a:lnTo>
                    <a:pt x="2385078" y="0"/>
                  </a:lnTo>
                  <a:lnTo>
                    <a:pt x="2385078" y="148030"/>
                  </a:lnTo>
                  <a:cubicBezTo>
                    <a:pt x="2385078" y="163912"/>
                    <a:pt x="2397899" y="176733"/>
                    <a:pt x="2413781" y="176733"/>
                  </a:cubicBezTo>
                  <a:lnTo>
                    <a:pt x="3043490" y="176733"/>
                  </a:lnTo>
                  <a:lnTo>
                    <a:pt x="3043490" y="302907"/>
                  </a:lnTo>
                  <a:lnTo>
                    <a:pt x="3043781" y="303052"/>
                  </a:lnTo>
                  <a:lnTo>
                    <a:pt x="2414076" y="303052"/>
                  </a:lnTo>
                  <a:cubicBezTo>
                    <a:pt x="2379542" y="303052"/>
                    <a:pt x="2347779" y="291543"/>
                    <a:pt x="2321991" y="272456"/>
                  </a:cubicBezTo>
                  <a:cubicBezTo>
                    <a:pt x="2296202" y="291543"/>
                    <a:pt x="2264443" y="303052"/>
                    <a:pt x="2229910" y="303052"/>
                  </a:cubicBezTo>
                  <a:cubicBezTo>
                    <a:pt x="2229910" y="303052"/>
                    <a:pt x="1645662" y="303052"/>
                    <a:pt x="1645662" y="303052"/>
                  </a:cubicBezTo>
                  <a:lnTo>
                    <a:pt x="0" y="303052"/>
                  </a:lnTo>
                  <a:lnTo>
                    <a:pt x="0" y="176733"/>
                  </a:lnTo>
                  <a:lnTo>
                    <a:pt x="564250" y="176733"/>
                  </a:lnTo>
                  <a:cubicBezTo>
                    <a:pt x="1139781" y="176733"/>
                    <a:pt x="1600205" y="176733"/>
                    <a:pt x="1600205" y="176733"/>
                  </a:cubicBezTo>
                  <a:lnTo>
                    <a:pt x="2229764" y="176733"/>
                  </a:lnTo>
                  <a:cubicBezTo>
                    <a:pt x="2245501" y="176733"/>
                    <a:pt x="2258468" y="163912"/>
                    <a:pt x="2258468" y="148030"/>
                  </a:cubicBezTo>
                  <a:close/>
                </a:path>
              </a:pathLst>
            </a:custGeom>
            <a:solidFill>
              <a:srgbClr val="424242"/>
            </a:solidFill>
            <a:ln w="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de-DE"/>
            </a:p>
          </p:txBody>
        </p:sp>
        <p:sp>
          <p:nvSpPr>
            <p:cNvPr id="180" name="Freihandform: Form 179">
              <a:extLst>
                <a:ext uri="{FF2B5EF4-FFF2-40B4-BE49-F238E27FC236}">
                  <a16:creationId xmlns:a16="http://schemas.microsoft.com/office/drawing/2014/main" id="{4F0CBF62-9416-4062-E2BC-1024E0A98B71}"/>
                </a:ext>
              </a:extLst>
            </p:cNvPr>
            <p:cNvSpPr/>
            <p:nvPr/>
          </p:nvSpPr>
          <p:spPr>
            <a:xfrm flipH="1">
              <a:off x="3052219" y="6096000"/>
              <a:ext cx="3043486" cy="266776"/>
            </a:xfrm>
            <a:custGeom>
              <a:avLst/>
              <a:gdLst>
                <a:gd name="connsiteX0" fmla="*/ 2294454 w 3043486"/>
                <a:gd name="connsiteY0" fmla="*/ 0 h 266776"/>
                <a:gd name="connsiteX1" fmla="*/ 2348946 w 3043486"/>
                <a:gd name="connsiteY1" fmla="*/ 0 h 266776"/>
                <a:gd name="connsiteX2" fmla="*/ 2348946 w 3043486"/>
                <a:gd name="connsiteY2" fmla="*/ 147885 h 266776"/>
                <a:gd name="connsiteX3" fmla="*/ 2413780 w 3043486"/>
                <a:gd name="connsiteY3" fmla="*/ 212720 h 266776"/>
                <a:gd name="connsiteX4" fmla="*/ 3043486 w 3043486"/>
                <a:gd name="connsiteY4" fmla="*/ 212720 h 266776"/>
                <a:gd name="connsiteX5" fmla="*/ 3043486 w 3043486"/>
                <a:gd name="connsiteY5" fmla="*/ 266776 h 266776"/>
                <a:gd name="connsiteX6" fmla="*/ 2413780 w 3043486"/>
                <a:gd name="connsiteY6" fmla="*/ 266776 h 266776"/>
                <a:gd name="connsiteX7" fmla="*/ 2321700 w 3043486"/>
                <a:gd name="connsiteY7" fmla="*/ 222191 h 266776"/>
                <a:gd name="connsiteX8" fmla="*/ 2229619 w 3043486"/>
                <a:gd name="connsiteY8" fmla="*/ 266776 h 266776"/>
                <a:gd name="connsiteX9" fmla="*/ 1645370 w 3043486"/>
                <a:gd name="connsiteY9" fmla="*/ 266776 h 266776"/>
                <a:gd name="connsiteX10" fmla="*/ 0 w 3043486"/>
                <a:gd name="connsiteY10" fmla="*/ 266776 h 266776"/>
                <a:gd name="connsiteX11" fmla="*/ 0 w 3043486"/>
                <a:gd name="connsiteY11" fmla="*/ 212720 h 266776"/>
                <a:gd name="connsiteX12" fmla="*/ 564104 w 3043486"/>
                <a:gd name="connsiteY12" fmla="*/ 212720 h 266776"/>
                <a:gd name="connsiteX13" fmla="*/ 1600059 w 3043486"/>
                <a:gd name="connsiteY13" fmla="*/ 212720 h 266776"/>
                <a:gd name="connsiteX14" fmla="*/ 2229619 w 3043486"/>
                <a:gd name="connsiteY14" fmla="*/ 212720 h 266776"/>
                <a:gd name="connsiteX15" fmla="*/ 2294454 w 3043486"/>
                <a:gd name="connsiteY15" fmla="*/ 147885 h 266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043486" h="266776">
                  <a:moveTo>
                    <a:pt x="2294454" y="0"/>
                  </a:moveTo>
                  <a:lnTo>
                    <a:pt x="2348946" y="0"/>
                  </a:lnTo>
                  <a:lnTo>
                    <a:pt x="2348946" y="147885"/>
                  </a:lnTo>
                  <a:cubicBezTo>
                    <a:pt x="2348946" y="183581"/>
                    <a:pt x="2378085" y="212720"/>
                    <a:pt x="2413780" y="212720"/>
                  </a:cubicBezTo>
                  <a:lnTo>
                    <a:pt x="3043486" y="212720"/>
                  </a:lnTo>
                  <a:lnTo>
                    <a:pt x="3043486" y="266776"/>
                  </a:lnTo>
                  <a:lnTo>
                    <a:pt x="2413780" y="266776"/>
                  </a:lnTo>
                  <a:cubicBezTo>
                    <a:pt x="2376482" y="266776"/>
                    <a:pt x="2343552" y="249146"/>
                    <a:pt x="2321700" y="222191"/>
                  </a:cubicBezTo>
                  <a:cubicBezTo>
                    <a:pt x="2299843" y="249146"/>
                    <a:pt x="2266917" y="266776"/>
                    <a:pt x="2229619" y="266776"/>
                  </a:cubicBezTo>
                  <a:cubicBezTo>
                    <a:pt x="2229619" y="266776"/>
                    <a:pt x="1645370" y="266776"/>
                    <a:pt x="1645370" y="266776"/>
                  </a:cubicBezTo>
                  <a:lnTo>
                    <a:pt x="0" y="266776"/>
                  </a:lnTo>
                  <a:lnTo>
                    <a:pt x="0" y="212720"/>
                  </a:lnTo>
                  <a:lnTo>
                    <a:pt x="564104" y="212720"/>
                  </a:lnTo>
                  <a:cubicBezTo>
                    <a:pt x="1139635" y="212720"/>
                    <a:pt x="1600059" y="212720"/>
                    <a:pt x="1600059" y="212720"/>
                  </a:cubicBezTo>
                  <a:lnTo>
                    <a:pt x="2229619" y="212720"/>
                  </a:lnTo>
                  <a:cubicBezTo>
                    <a:pt x="2265314" y="212720"/>
                    <a:pt x="2294454" y="183581"/>
                    <a:pt x="2294454" y="147885"/>
                  </a:cubicBezTo>
                  <a:close/>
                </a:path>
              </a:pathLst>
            </a:custGeom>
            <a:solidFill>
              <a:srgbClr val="FC6538"/>
            </a:solidFill>
            <a:ln w="0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de-DE"/>
            </a:p>
          </p:txBody>
        </p:sp>
      </p:grpSp>
      <p:sp>
        <p:nvSpPr>
          <p:cNvPr id="218" name="Freihandform: Form 217">
            <a:extLst>
              <a:ext uri="{FF2B5EF4-FFF2-40B4-BE49-F238E27FC236}">
                <a16:creationId xmlns:a16="http://schemas.microsoft.com/office/drawing/2014/main" id="{CEA87009-F8A0-42C5-C691-DB63523B0195}"/>
              </a:ext>
            </a:extLst>
          </p:cNvPr>
          <p:cNvSpPr/>
          <p:nvPr/>
        </p:nvSpPr>
        <p:spPr>
          <a:xfrm>
            <a:off x="5439925" y="3048000"/>
            <a:ext cx="656075" cy="352151"/>
          </a:xfrm>
          <a:custGeom>
            <a:avLst/>
            <a:gdLst>
              <a:gd name="connsiteX0" fmla="*/ 138755 w 167017"/>
              <a:gd name="connsiteY0" fmla="*/ 33159 h 89647"/>
              <a:gd name="connsiteX1" fmla="*/ 131003 w 167017"/>
              <a:gd name="connsiteY1" fmla="*/ 34234 h 89647"/>
              <a:gd name="connsiteX2" fmla="*/ 89128 w 167017"/>
              <a:gd name="connsiteY2" fmla="*/ 0 h 89647"/>
              <a:gd name="connsiteX3" fmla="*/ 48922 w 167017"/>
              <a:gd name="connsiteY3" fmla="*/ 28263 h 89647"/>
              <a:gd name="connsiteX4" fmla="*/ 32825 w 167017"/>
              <a:gd name="connsiteY4" fmla="*/ 24034 h 89647"/>
              <a:gd name="connsiteX5" fmla="*/ 0 w 167017"/>
              <a:gd name="connsiteY5" fmla="*/ 56860 h 89647"/>
              <a:gd name="connsiteX6" fmla="*/ 32194 w 167017"/>
              <a:gd name="connsiteY6" fmla="*/ 89647 h 89647"/>
              <a:gd name="connsiteX7" fmla="*/ 32194 w 167017"/>
              <a:gd name="connsiteY7" fmla="*/ 89647 h 89647"/>
              <a:gd name="connsiteX8" fmla="*/ 138458 w 167017"/>
              <a:gd name="connsiteY8" fmla="*/ 89647 h 89647"/>
              <a:gd name="connsiteX9" fmla="*/ 138458 w 167017"/>
              <a:gd name="connsiteY9" fmla="*/ 89647 h 89647"/>
              <a:gd name="connsiteX10" fmla="*/ 138755 w 167017"/>
              <a:gd name="connsiteY10" fmla="*/ 89647 h 89647"/>
              <a:gd name="connsiteX11" fmla="*/ 167017 w 167017"/>
              <a:gd name="connsiteY11" fmla="*/ 61384 h 89647"/>
              <a:gd name="connsiteX12" fmla="*/ 138755 w 167017"/>
              <a:gd name="connsiteY12" fmla="*/ 33122 h 89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67017" h="89647">
                <a:moveTo>
                  <a:pt x="138755" y="33159"/>
                </a:moveTo>
                <a:cubicBezTo>
                  <a:pt x="136084" y="33159"/>
                  <a:pt x="133488" y="33530"/>
                  <a:pt x="131003" y="34234"/>
                </a:cubicBezTo>
                <a:cubicBezTo>
                  <a:pt x="127071" y="14725"/>
                  <a:pt x="109824" y="0"/>
                  <a:pt x="89128" y="0"/>
                </a:cubicBezTo>
                <a:cubicBezTo>
                  <a:pt x="70620" y="0"/>
                  <a:pt x="54856" y="11795"/>
                  <a:pt x="48922" y="28263"/>
                </a:cubicBezTo>
                <a:cubicBezTo>
                  <a:pt x="44174" y="25592"/>
                  <a:pt x="38685" y="24034"/>
                  <a:pt x="32825" y="24034"/>
                </a:cubicBezTo>
                <a:cubicBezTo>
                  <a:pt x="14688" y="24034"/>
                  <a:pt x="0" y="38722"/>
                  <a:pt x="0" y="56860"/>
                </a:cubicBezTo>
                <a:cubicBezTo>
                  <a:pt x="0" y="74997"/>
                  <a:pt x="14354" y="89314"/>
                  <a:pt x="32194" y="89647"/>
                </a:cubicBezTo>
                <a:lnTo>
                  <a:pt x="32194" y="89647"/>
                </a:lnTo>
                <a:cubicBezTo>
                  <a:pt x="32194" y="89647"/>
                  <a:pt x="138458" y="89647"/>
                  <a:pt x="138458" y="89647"/>
                </a:cubicBezTo>
                <a:lnTo>
                  <a:pt x="138458" y="89647"/>
                </a:lnTo>
                <a:cubicBezTo>
                  <a:pt x="138458" y="89647"/>
                  <a:pt x="138644" y="89647"/>
                  <a:pt x="138755" y="89647"/>
                </a:cubicBezTo>
                <a:cubicBezTo>
                  <a:pt x="154370" y="89647"/>
                  <a:pt x="167017" y="77000"/>
                  <a:pt x="167017" y="61384"/>
                </a:cubicBezTo>
                <a:cubicBezTo>
                  <a:pt x="167017" y="45769"/>
                  <a:pt x="154370" y="33122"/>
                  <a:pt x="138755" y="33122"/>
                </a:cubicBezTo>
              </a:path>
            </a:pathLst>
          </a:custGeom>
          <a:solidFill>
            <a:srgbClr val="BAE5FF"/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35390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>
            <a:extLst>
              <a:ext uri="{FF2B5EF4-FFF2-40B4-BE49-F238E27FC236}">
                <a16:creationId xmlns:a16="http://schemas.microsoft.com/office/drawing/2014/main" id="{92D97C22-C2B1-A627-594A-7B66B7DAEC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96863"/>
            <a:ext cx="8784357" cy="503845"/>
          </a:xfrm>
        </p:spPr>
        <p:txBody>
          <a:bodyPr/>
          <a:lstStyle/>
          <a:p>
            <a:r>
              <a:rPr lang="de-DE"/>
              <a:t>Erste Schritte zum Glasfaseranschluss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59378FF-88CB-0EBA-1226-189FB3FB8A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fld id="{0BBFC357-94BC-44C8-B600-C5D15BBAA3CF}" type="slidenum">
              <a:rPr lang="de-DE" smtClean="0"/>
              <a:pPr/>
              <a:t>5</a:t>
            </a:fld>
            <a:endParaRPr lang="de-DE"/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BAF1C56D-0778-8A3B-25A0-32EDE1D06AD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492895" y="1881187"/>
            <a:ext cx="3206211" cy="439261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9" name="Inhaltsplatzhalter 4">
            <a:extLst>
              <a:ext uri="{FF2B5EF4-FFF2-40B4-BE49-F238E27FC236}">
                <a16:creationId xmlns:a16="http://schemas.microsoft.com/office/drawing/2014/main" id="{963B0ED1-2682-2F0D-42A3-C4DB8219A517}"/>
              </a:ext>
            </a:extLst>
          </p:cNvPr>
          <p:cNvSpPr txBox="1">
            <a:spLocks/>
          </p:cNvSpPr>
          <p:nvPr/>
        </p:nvSpPr>
        <p:spPr>
          <a:xfrm>
            <a:off x="407988" y="1844675"/>
            <a:ext cx="4992687" cy="3314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>
                <a:solidFill>
                  <a:schemeClr val="tx1"/>
                </a:solidFill>
              </a:rPr>
              <a:t>In 4 Schritten zum</a:t>
            </a:r>
            <a:br>
              <a:rPr lang="de-DE">
                <a:solidFill>
                  <a:schemeClr val="tx1"/>
                </a:solidFill>
              </a:rPr>
            </a:br>
            <a:r>
              <a:rPr lang="de-DE">
                <a:solidFill>
                  <a:schemeClr val="tx1"/>
                </a:solidFill>
              </a:rPr>
              <a:t>Glasfaseranschluss</a:t>
            </a:r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F8208B7E-52F9-C7B4-8DFB-9B9978625BED}"/>
              </a:ext>
            </a:extLst>
          </p:cNvPr>
          <p:cNvCxnSpPr>
            <a:cxnSpLocks/>
          </p:cNvCxnSpPr>
          <p:nvPr/>
        </p:nvCxnSpPr>
        <p:spPr>
          <a:xfrm>
            <a:off x="6240016" y="2294356"/>
            <a:ext cx="2520000" cy="0"/>
          </a:xfrm>
          <a:prstGeom prst="line">
            <a:avLst/>
          </a:prstGeom>
          <a:ln w="44450">
            <a:solidFill>
              <a:schemeClr val="bg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8CF6F6A7-29B7-19D7-09DB-8CD86C8497F3}"/>
              </a:ext>
            </a:extLst>
          </p:cNvPr>
          <p:cNvCxnSpPr>
            <a:cxnSpLocks/>
          </p:cNvCxnSpPr>
          <p:nvPr/>
        </p:nvCxnSpPr>
        <p:spPr>
          <a:xfrm>
            <a:off x="6240016" y="2294356"/>
            <a:ext cx="2520000" cy="0"/>
          </a:xfrm>
          <a:prstGeom prst="line">
            <a:avLst/>
          </a:prstGeom>
          <a:ln w="9525">
            <a:solidFill>
              <a:schemeClr val="tx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97FBAFBD-5C37-3A15-BFBE-4515E818C4E9}"/>
              </a:ext>
            </a:extLst>
          </p:cNvPr>
          <p:cNvCxnSpPr>
            <a:cxnSpLocks/>
          </p:cNvCxnSpPr>
          <p:nvPr/>
        </p:nvCxnSpPr>
        <p:spPr>
          <a:xfrm>
            <a:off x="7104112" y="4160118"/>
            <a:ext cx="1656000" cy="0"/>
          </a:xfrm>
          <a:prstGeom prst="line">
            <a:avLst/>
          </a:prstGeom>
          <a:ln w="44450">
            <a:solidFill>
              <a:schemeClr val="bg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C76E353E-C98F-6BFE-3445-3F7E832E4FAC}"/>
              </a:ext>
            </a:extLst>
          </p:cNvPr>
          <p:cNvCxnSpPr>
            <a:cxnSpLocks/>
          </p:cNvCxnSpPr>
          <p:nvPr/>
        </p:nvCxnSpPr>
        <p:spPr>
          <a:xfrm>
            <a:off x="7104112" y="4160118"/>
            <a:ext cx="1656000" cy="0"/>
          </a:xfrm>
          <a:prstGeom prst="line">
            <a:avLst/>
          </a:prstGeom>
          <a:ln w="9525">
            <a:solidFill>
              <a:schemeClr val="tx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Freihandform: Form 26">
            <a:extLst>
              <a:ext uri="{FF2B5EF4-FFF2-40B4-BE49-F238E27FC236}">
                <a16:creationId xmlns:a16="http://schemas.microsoft.com/office/drawing/2014/main" id="{1FA99844-9FE8-B9BB-DCD4-181DB91F6901}"/>
              </a:ext>
            </a:extLst>
          </p:cNvPr>
          <p:cNvSpPr/>
          <p:nvPr/>
        </p:nvSpPr>
        <p:spPr>
          <a:xfrm>
            <a:off x="4772024" y="3105150"/>
            <a:ext cx="1724025" cy="3168650"/>
          </a:xfrm>
          <a:custGeom>
            <a:avLst/>
            <a:gdLst>
              <a:gd name="connsiteX0" fmla="*/ 12700 w 1733550"/>
              <a:gd name="connsiteY0" fmla="*/ 0 h 3168650"/>
              <a:gd name="connsiteX1" fmla="*/ 1733550 w 1733550"/>
              <a:gd name="connsiteY1" fmla="*/ 0 h 3168650"/>
              <a:gd name="connsiteX2" fmla="*/ 1733550 w 1733550"/>
              <a:gd name="connsiteY2" fmla="*/ 1562100 h 3168650"/>
              <a:gd name="connsiteX3" fmla="*/ 781050 w 1733550"/>
              <a:gd name="connsiteY3" fmla="*/ 1562100 h 3168650"/>
              <a:gd name="connsiteX4" fmla="*/ 781050 w 1733550"/>
              <a:gd name="connsiteY4" fmla="*/ 3168650 h 3168650"/>
              <a:gd name="connsiteX5" fmla="*/ 0 w 1733550"/>
              <a:gd name="connsiteY5" fmla="*/ 3168650 h 3168650"/>
              <a:gd name="connsiteX6" fmla="*/ 12700 w 1733550"/>
              <a:gd name="connsiteY6" fmla="*/ 0 h 3168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33550" h="3168650">
                <a:moveTo>
                  <a:pt x="12700" y="0"/>
                </a:moveTo>
                <a:lnTo>
                  <a:pt x="1733550" y="0"/>
                </a:lnTo>
                <a:lnTo>
                  <a:pt x="1733550" y="1562100"/>
                </a:lnTo>
                <a:lnTo>
                  <a:pt x="781050" y="1562100"/>
                </a:lnTo>
                <a:lnTo>
                  <a:pt x="781050" y="3168650"/>
                </a:lnTo>
                <a:lnTo>
                  <a:pt x="0" y="3168650"/>
                </a:lnTo>
                <a:cubicBezTo>
                  <a:pt x="4233" y="2112433"/>
                  <a:pt x="8467" y="1056217"/>
                  <a:pt x="12700" y="0"/>
                </a:cubicBezTo>
                <a:close/>
              </a:path>
            </a:pathLst>
          </a:custGeom>
          <a:noFill/>
          <a:ln w="38100" cap="rnd">
            <a:solidFill>
              <a:schemeClr val="accent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BC39BC6D-A201-3C00-9F04-405055892B68}"/>
              </a:ext>
            </a:extLst>
          </p:cNvPr>
          <p:cNvCxnSpPr>
            <a:cxnSpLocks/>
          </p:cNvCxnSpPr>
          <p:nvPr/>
        </p:nvCxnSpPr>
        <p:spPr>
          <a:xfrm flipH="1">
            <a:off x="3431889" y="4160118"/>
            <a:ext cx="1511983" cy="0"/>
          </a:xfrm>
          <a:prstGeom prst="line">
            <a:avLst/>
          </a:prstGeom>
          <a:ln w="44450">
            <a:solidFill>
              <a:schemeClr val="bg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E7DA6F83-4B23-CFC0-B35F-93E156E10E7F}"/>
              </a:ext>
            </a:extLst>
          </p:cNvPr>
          <p:cNvCxnSpPr>
            <a:cxnSpLocks/>
          </p:cNvCxnSpPr>
          <p:nvPr/>
        </p:nvCxnSpPr>
        <p:spPr>
          <a:xfrm flipH="1">
            <a:off x="3431889" y="4160118"/>
            <a:ext cx="1511983" cy="0"/>
          </a:xfrm>
          <a:prstGeom prst="line">
            <a:avLst/>
          </a:prstGeom>
          <a:ln w="9525">
            <a:solidFill>
              <a:schemeClr val="tx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hteck 27">
            <a:extLst>
              <a:ext uri="{FF2B5EF4-FFF2-40B4-BE49-F238E27FC236}">
                <a16:creationId xmlns:a16="http://schemas.microsoft.com/office/drawing/2014/main" id="{B5E71A80-C817-D428-B90D-E9ABA9CA9D1B}"/>
              </a:ext>
            </a:extLst>
          </p:cNvPr>
          <p:cNvSpPr/>
          <p:nvPr/>
        </p:nvSpPr>
        <p:spPr>
          <a:xfrm>
            <a:off x="426073" y="5969467"/>
            <a:ext cx="288000" cy="288000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33" name="Inhaltsplatzhalter 1">
            <a:extLst>
              <a:ext uri="{FF2B5EF4-FFF2-40B4-BE49-F238E27FC236}">
                <a16:creationId xmlns:a16="http://schemas.microsoft.com/office/drawing/2014/main" id="{A648E92A-6032-3C9A-AC17-9838F32A6FAB}"/>
              </a:ext>
            </a:extLst>
          </p:cNvPr>
          <p:cNvSpPr txBox="1">
            <a:spLocks/>
          </p:cNvSpPr>
          <p:nvPr/>
        </p:nvSpPr>
        <p:spPr bwMode="auto">
          <a:xfrm>
            <a:off x="8861957" y="2173010"/>
            <a:ext cx="2922055" cy="895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defTabSz="914133">
              <a:spcBef>
                <a:spcPts val="800"/>
              </a:spcBef>
              <a:buClr>
                <a:srgbClr val="FF9900"/>
              </a:buClr>
              <a:defRPr/>
            </a:pPr>
            <a:r>
              <a:rPr lang="de-DE" b="0" kern="0">
                <a:solidFill>
                  <a:srgbClr val="3B3B3B"/>
                </a:solidFill>
              </a:rPr>
              <a:t>Der WLAN-fähige Router</a:t>
            </a:r>
            <a:br>
              <a:rPr lang="de-DE" b="0" kern="0">
                <a:solidFill>
                  <a:srgbClr val="3B3B3B"/>
                </a:solidFill>
              </a:rPr>
            </a:br>
            <a:r>
              <a:rPr lang="de-DE" b="0" kern="0">
                <a:solidFill>
                  <a:srgbClr val="3B3B3B"/>
                </a:solidFill>
              </a:rPr>
              <a:t>kann optional bei der</a:t>
            </a:r>
            <a:br>
              <a:rPr lang="de-DE" b="0" kern="0">
                <a:solidFill>
                  <a:srgbClr val="3B3B3B"/>
                </a:solidFill>
              </a:rPr>
            </a:br>
            <a:r>
              <a:rPr lang="de-DE" b="0" kern="0">
                <a:solidFill>
                  <a:srgbClr val="3B3B3B"/>
                </a:solidFill>
              </a:rPr>
              <a:t>NetCom BW erworben werden.</a:t>
            </a:r>
          </a:p>
        </p:txBody>
      </p:sp>
      <p:sp>
        <p:nvSpPr>
          <p:cNvPr id="34" name="Inhaltsplatzhalter 1">
            <a:extLst>
              <a:ext uri="{FF2B5EF4-FFF2-40B4-BE49-F238E27FC236}">
                <a16:creationId xmlns:a16="http://schemas.microsoft.com/office/drawing/2014/main" id="{DE90A49D-2370-3463-23AF-52B38E1192E7}"/>
              </a:ext>
            </a:extLst>
          </p:cNvPr>
          <p:cNvSpPr txBox="1">
            <a:spLocks/>
          </p:cNvSpPr>
          <p:nvPr/>
        </p:nvSpPr>
        <p:spPr bwMode="auto">
          <a:xfrm>
            <a:off x="8861958" y="4024515"/>
            <a:ext cx="2922055" cy="895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defTabSz="914133">
              <a:spcBef>
                <a:spcPts val="800"/>
              </a:spcBef>
              <a:buClr>
                <a:srgbClr val="FF9900"/>
              </a:buClr>
              <a:defRPr/>
            </a:pPr>
            <a:r>
              <a:rPr lang="de-DE" b="0" kern="0">
                <a:solidFill>
                  <a:srgbClr val="3B3B3B"/>
                </a:solidFill>
              </a:rPr>
              <a:t>Für die Gebäudeverkabelung</a:t>
            </a:r>
            <a:br>
              <a:rPr lang="de-DE" b="0" kern="0">
                <a:solidFill>
                  <a:srgbClr val="3B3B3B"/>
                </a:solidFill>
              </a:rPr>
            </a:br>
            <a:r>
              <a:rPr lang="de-DE" b="0" kern="0">
                <a:solidFill>
                  <a:srgbClr val="3B3B3B"/>
                </a:solidFill>
              </a:rPr>
              <a:t>ist der Hauseigentümer verantwortlich. Empfohlen</a:t>
            </a:r>
            <a:br>
              <a:rPr lang="de-DE" b="0" kern="0">
                <a:solidFill>
                  <a:srgbClr val="3B3B3B"/>
                </a:solidFill>
              </a:rPr>
            </a:br>
            <a:r>
              <a:rPr lang="de-DE" b="0" kern="0">
                <a:solidFill>
                  <a:srgbClr val="3B3B3B"/>
                </a:solidFill>
              </a:rPr>
              <a:t>wird CAT 6 oder besser.</a:t>
            </a:r>
          </a:p>
        </p:txBody>
      </p:sp>
      <p:sp>
        <p:nvSpPr>
          <p:cNvPr id="35" name="Inhaltsplatzhalter 1">
            <a:extLst>
              <a:ext uri="{FF2B5EF4-FFF2-40B4-BE49-F238E27FC236}">
                <a16:creationId xmlns:a16="http://schemas.microsoft.com/office/drawing/2014/main" id="{E767D841-8754-AA46-BFE6-5BB13F115641}"/>
              </a:ext>
            </a:extLst>
          </p:cNvPr>
          <p:cNvSpPr txBox="1">
            <a:spLocks/>
          </p:cNvSpPr>
          <p:nvPr/>
        </p:nvSpPr>
        <p:spPr bwMode="auto">
          <a:xfrm>
            <a:off x="416766" y="4024515"/>
            <a:ext cx="2922055" cy="895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r" defTabSz="914133">
              <a:spcBef>
                <a:spcPts val="800"/>
              </a:spcBef>
              <a:buClr>
                <a:srgbClr val="FF9900"/>
              </a:buClr>
              <a:defRPr/>
            </a:pPr>
            <a:r>
              <a:rPr lang="de-DE" kern="0">
                <a:solidFill>
                  <a:srgbClr val="3B3B3B"/>
                </a:solidFill>
              </a:rPr>
              <a:t>Schritt 1 + 2 + 3</a:t>
            </a:r>
            <a:br>
              <a:rPr lang="de-DE" kern="0">
                <a:solidFill>
                  <a:srgbClr val="3B3B3B"/>
                </a:solidFill>
              </a:rPr>
            </a:br>
            <a:r>
              <a:rPr lang="de-DE" b="0" kern="0">
                <a:solidFill>
                  <a:srgbClr val="3B3B3B"/>
                </a:solidFill>
              </a:rPr>
              <a:t>Hauseinführung mit Leerrohr, Übergabepunkt und Konverter wird von </a:t>
            </a:r>
            <a:r>
              <a:rPr lang="de-DE" b="0" kern="0" err="1">
                <a:solidFill>
                  <a:srgbClr val="3B3B3B"/>
                </a:solidFill>
              </a:rPr>
              <a:t>NetCom</a:t>
            </a:r>
            <a:r>
              <a:rPr lang="de-DE" b="0" kern="0">
                <a:solidFill>
                  <a:srgbClr val="3B3B3B"/>
                </a:solidFill>
              </a:rPr>
              <a:t> BW bereit gestellt und montiert.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ACF3C38D-2805-392A-B5FC-248194FFF5C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38200" y="5993926"/>
            <a:ext cx="1295400" cy="239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0322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785C04F1-324F-C8BD-E0A3-89249A3877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5048696"/>
            <a:ext cx="6069012" cy="1225104"/>
          </a:xfrm>
        </p:spPr>
        <p:txBody>
          <a:bodyPr/>
          <a:lstStyle/>
          <a:p>
            <a:r>
              <a:rPr lang="de-DE" dirty="0"/>
              <a:t>Angebote für Privatkunden</a:t>
            </a:r>
          </a:p>
        </p:txBody>
      </p:sp>
    </p:spTree>
    <p:extLst>
      <p:ext uri="{BB962C8B-B14F-4D97-AF65-F5344CB8AC3E}">
        <p14:creationId xmlns:p14="http://schemas.microsoft.com/office/powerpoint/2010/main" val="1757231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7682869-555F-162E-0833-056D618132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96863"/>
            <a:ext cx="8784357" cy="503845"/>
          </a:xfrm>
        </p:spPr>
        <p:txBody>
          <a:bodyPr/>
          <a:lstStyle/>
          <a:p>
            <a:r>
              <a:rPr lang="de-DE"/>
              <a:t>Angebote für Privatkund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B135A39-F95C-AC88-B7CE-D2E304392C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fld id="{0BBFC357-94BC-44C8-B600-C5D15BBAA3CF}" type="slidenum">
              <a:rPr lang="de-DE" smtClean="0"/>
              <a:pPr/>
              <a:t>7</a:t>
            </a:fld>
            <a:endParaRPr lang="de-DE"/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1BAFD66A-8585-B29D-C91E-98515001A6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5775257"/>
              </p:ext>
            </p:extLst>
          </p:nvPr>
        </p:nvGraphicFramePr>
        <p:xfrm>
          <a:off x="407987" y="3102956"/>
          <a:ext cx="10162474" cy="3011241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9255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17168">
                  <a:extLst>
                    <a:ext uri="{9D8B030D-6E8A-4147-A177-3AD203B41FA5}">
                      <a16:colId xmlns:a16="http://schemas.microsoft.com/office/drawing/2014/main" val="1614753956"/>
                    </a:ext>
                  </a:extLst>
                </a:gridCol>
                <a:gridCol w="1063936">
                  <a:extLst>
                    <a:ext uri="{9D8B030D-6E8A-4147-A177-3AD203B41FA5}">
                      <a16:colId xmlns:a16="http://schemas.microsoft.com/office/drawing/2014/main" val="4144029935"/>
                    </a:ext>
                  </a:extLst>
                </a:gridCol>
                <a:gridCol w="1063949">
                  <a:extLst>
                    <a:ext uri="{9D8B030D-6E8A-4147-A177-3AD203B41FA5}">
                      <a16:colId xmlns:a16="http://schemas.microsoft.com/office/drawing/2014/main" val="1129152125"/>
                    </a:ext>
                  </a:extLst>
                </a:gridCol>
                <a:gridCol w="106394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6394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6394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07061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800" b="0" kern="1200" err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GLASFASER.home</a:t>
                      </a:r>
                      <a:endParaRPr lang="de-DE" sz="1800" b="0" kern="120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4400" marB="72000"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endParaRPr lang="de-DE" sz="1800" b="0" kern="120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14400" marB="72000"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400" b="1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50</a:t>
                      </a:r>
                    </a:p>
                  </a:txBody>
                  <a:tcPr marL="0" marR="0" marT="14400" marB="72000"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400" b="1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100</a:t>
                      </a:r>
                    </a:p>
                  </a:txBody>
                  <a:tcPr marL="0" marR="0" marT="14400" marB="72000"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>
                          <a:solidFill>
                            <a:schemeClr val="tx1"/>
                          </a:solidFill>
                          <a:latin typeface="+mn-lt"/>
                        </a:rPr>
                        <a:t>300</a:t>
                      </a:r>
                    </a:p>
                  </a:txBody>
                  <a:tcPr marL="0" marR="0" marT="14400" marB="72000"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>
                          <a:solidFill>
                            <a:schemeClr val="tx1"/>
                          </a:solidFill>
                          <a:latin typeface="+mn-lt"/>
                        </a:rPr>
                        <a:t>500</a:t>
                      </a:r>
                    </a:p>
                  </a:txBody>
                  <a:tcPr marL="0" marR="0" marT="14400" marB="72000"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>
                          <a:solidFill>
                            <a:schemeClr val="tx1"/>
                          </a:solidFill>
                          <a:latin typeface="+mn-lt"/>
                        </a:rPr>
                        <a:t>1.000</a:t>
                      </a:r>
                    </a:p>
                  </a:txBody>
                  <a:tcPr marL="0" marR="0" marT="14400" marB="72000" anchor="b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564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own-/Upload in Mbit/s</a:t>
                      </a: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0" kern="120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e-DE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3B3B3B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50/10</a:t>
                      </a: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100/20</a:t>
                      </a: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300/60</a:t>
                      </a: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500/100</a:t>
                      </a: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>
                          <a:solidFill>
                            <a:schemeClr val="tx1"/>
                          </a:solidFill>
                          <a:sym typeface="Wingdings" panose="05000000000000000000" pitchFamily="2" charset="2"/>
                        </a:rPr>
                        <a:t>1.000/250</a:t>
                      </a: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9288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ktionspreis monatlich für alle Neukunden</a:t>
                      </a:r>
                      <a:br>
                        <a:rPr lang="de-DE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</a:br>
                      <a:r>
                        <a:rPr lang="de-DE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n der Erstvertragslaufzeit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 b="0" kern="120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>
                          <a:solidFill>
                            <a:schemeClr val="tx1"/>
                          </a:solidFill>
                        </a:rPr>
                        <a:t>29,90 €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>
                          <a:solidFill>
                            <a:schemeClr val="tx1"/>
                          </a:solidFill>
                        </a:rPr>
                        <a:t>34,90 €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>
                          <a:solidFill>
                            <a:schemeClr val="tx1"/>
                          </a:solidFill>
                        </a:rPr>
                        <a:t>39,90 €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>
                          <a:solidFill>
                            <a:schemeClr val="tx1"/>
                          </a:solidFill>
                        </a:rPr>
                        <a:t>49,90 €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>
                          <a:solidFill>
                            <a:schemeClr val="tx1"/>
                          </a:solidFill>
                        </a:rPr>
                        <a:t>69,90 €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0564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Times New Roman"/>
                          <a:cs typeface="EnBW DIN Pro"/>
                        </a:rPr>
                        <a:t>Preis monatlich nach Ablauf Erstvertragslaufzeit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 b="0" kern="12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EnBW DIN Pro"/>
                      </a:endParaRP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>
                          <a:solidFill>
                            <a:schemeClr val="tx1"/>
                          </a:solidFill>
                        </a:rPr>
                        <a:t>39,90 €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>
                          <a:solidFill>
                            <a:schemeClr val="tx1"/>
                          </a:solidFill>
                        </a:rPr>
                        <a:t>44,90 €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>
                          <a:solidFill>
                            <a:schemeClr val="tx1"/>
                          </a:solidFill>
                        </a:rPr>
                        <a:t>49,90 €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>
                          <a:solidFill>
                            <a:schemeClr val="tx1"/>
                          </a:solidFill>
                        </a:rPr>
                        <a:t>79,90 €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12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>
                          <a:solidFill>
                            <a:schemeClr val="tx1"/>
                          </a:solidFill>
                        </a:rPr>
                        <a:t>99,90 €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3959174"/>
                  </a:ext>
                </a:extLst>
              </a:tr>
            </a:tbl>
          </a:graphicData>
        </a:graphic>
      </p:graphicFrame>
      <p:sp>
        <p:nvSpPr>
          <p:cNvPr id="15" name="Inhaltsplatzhalter 9">
            <a:extLst>
              <a:ext uri="{FF2B5EF4-FFF2-40B4-BE49-F238E27FC236}">
                <a16:creationId xmlns:a16="http://schemas.microsoft.com/office/drawing/2014/main" id="{72548073-2063-C763-F0D2-51A0128F6649}"/>
              </a:ext>
            </a:extLst>
          </p:cNvPr>
          <p:cNvSpPr txBox="1">
            <a:spLocks/>
          </p:cNvSpPr>
          <p:nvPr/>
        </p:nvSpPr>
        <p:spPr>
          <a:xfrm>
            <a:off x="402640" y="1685965"/>
            <a:ext cx="2880000" cy="684560"/>
          </a:xfrm>
          <a:prstGeom prst="rect">
            <a:avLst/>
          </a:prstGeom>
        </p:spPr>
        <p:txBody>
          <a:bodyPr lIns="43200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800">
                <a:latin typeface="+mj-lt"/>
              </a:rPr>
              <a:t>FTTB – Tarife</a:t>
            </a:r>
            <a:br>
              <a:rPr lang="de-DE" sz="1200"/>
            </a:br>
            <a:r>
              <a:rPr lang="de-DE" sz="1400"/>
              <a:t>Anbindung des Gebäudes</a:t>
            </a:r>
            <a:br>
              <a:rPr lang="de-DE" sz="1400"/>
            </a:br>
            <a:r>
              <a:rPr lang="de-DE" sz="1400"/>
              <a:t>über Glasfaser</a:t>
            </a:r>
          </a:p>
        </p:txBody>
      </p:sp>
      <p:sp>
        <p:nvSpPr>
          <p:cNvPr id="16" name="Inhaltsplatzhalter 9">
            <a:extLst>
              <a:ext uri="{FF2B5EF4-FFF2-40B4-BE49-F238E27FC236}">
                <a16:creationId xmlns:a16="http://schemas.microsoft.com/office/drawing/2014/main" id="{B3A62F20-6056-B7E6-EBF1-546CE8DE0A71}"/>
              </a:ext>
            </a:extLst>
          </p:cNvPr>
          <p:cNvSpPr txBox="1">
            <a:spLocks/>
          </p:cNvSpPr>
          <p:nvPr/>
        </p:nvSpPr>
        <p:spPr>
          <a:xfrm>
            <a:off x="3868436" y="1685965"/>
            <a:ext cx="2880000" cy="684560"/>
          </a:xfrm>
          <a:prstGeom prst="rect">
            <a:avLst/>
          </a:prstGeom>
        </p:spPr>
        <p:txBody>
          <a:bodyPr lIns="43200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800">
                <a:latin typeface="+mj-lt"/>
              </a:rPr>
              <a:t>Internetflatrate</a:t>
            </a:r>
            <a:br>
              <a:rPr lang="de-DE" sz="1800"/>
            </a:br>
            <a:r>
              <a:rPr lang="de-DE" sz="1400"/>
              <a:t>ohne Zeit- und Volumenbegrenzung</a:t>
            </a:r>
          </a:p>
        </p:txBody>
      </p:sp>
      <p:sp>
        <p:nvSpPr>
          <p:cNvPr id="17" name="Inhaltsplatzhalter 9">
            <a:extLst>
              <a:ext uri="{FF2B5EF4-FFF2-40B4-BE49-F238E27FC236}">
                <a16:creationId xmlns:a16="http://schemas.microsoft.com/office/drawing/2014/main" id="{7D71A19E-21E4-C874-6A70-84F4B0C3A57B}"/>
              </a:ext>
            </a:extLst>
          </p:cNvPr>
          <p:cNvSpPr txBox="1">
            <a:spLocks/>
          </p:cNvSpPr>
          <p:nvPr/>
        </p:nvSpPr>
        <p:spPr>
          <a:xfrm>
            <a:off x="7539563" y="1685965"/>
            <a:ext cx="2880000" cy="684560"/>
          </a:xfrm>
          <a:prstGeom prst="rect">
            <a:avLst/>
          </a:prstGeom>
        </p:spPr>
        <p:txBody>
          <a:bodyPr lIns="432000" tIns="0" rIns="0" bIns="0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de-DE" sz="1800">
                <a:latin typeface="+mj-lt"/>
              </a:rPr>
              <a:t>Telefonanschluss</a:t>
            </a:r>
            <a:br>
              <a:rPr lang="de-DE" sz="1200"/>
            </a:br>
            <a:r>
              <a:rPr lang="de-DE" sz="1400"/>
              <a:t>mit zwei Rufnummern inkl. Flatrate ins deutsche Festnetz</a:t>
            </a:r>
          </a:p>
        </p:txBody>
      </p: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548D7052-2EB6-4CBF-0054-8CE494490821}"/>
              </a:ext>
            </a:extLst>
          </p:cNvPr>
          <p:cNvCxnSpPr/>
          <p:nvPr/>
        </p:nvCxnSpPr>
        <p:spPr>
          <a:xfrm>
            <a:off x="3575538" y="1685965"/>
            <a:ext cx="0" cy="68456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9257B5F6-D58A-5A5A-31C5-10ADC22595ED}"/>
              </a:ext>
            </a:extLst>
          </p:cNvPr>
          <p:cNvCxnSpPr/>
          <p:nvPr/>
        </p:nvCxnSpPr>
        <p:spPr>
          <a:xfrm>
            <a:off x="7242640" y="1685965"/>
            <a:ext cx="0" cy="68456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Grafik 21">
            <a:extLst>
              <a:ext uri="{FF2B5EF4-FFF2-40B4-BE49-F238E27FC236}">
                <a16:creationId xmlns:a16="http://schemas.microsoft.com/office/drawing/2014/main" id="{EFCCAB4F-D6B1-044A-2592-6B144E77459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2640" y="1654240"/>
            <a:ext cx="304800" cy="285750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51296FBD-A6CF-6B7F-E57F-10331E4E5FD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68436" y="1668322"/>
            <a:ext cx="304800" cy="285750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A82ADD60-2705-BAEA-DD33-9F903A7F16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539563" y="1682404"/>
            <a:ext cx="304800" cy="285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413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AB63B09-7FCA-3A2B-1C59-6598AB7414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96863"/>
            <a:ext cx="8784357" cy="503845"/>
          </a:xfrm>
        </p:spPr>
        <p:txBody>
          <a:bodyPr/>
          <a:lstStyle/>
          <a:p>
            <a:r>
              <a:rPr lang="de-DE"/>
              <a:t>Telefonie-Option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E710DF9-AB12-E22C-0B39-AD93D39E4F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7" y="6543420"/>
            <a:ext cx="10044113" cy="143869"/>
          </a:xfrm>
        </p:spPr>
        <p:txBody>
          <a:bodyPr/>
          <a:lstStyle/>
          <a:p>
            <a:r>
              <a:rPr lang="de-DE"/>
              <a:t>Bereit fürs Glasfaserland?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BC27901-2572-A566-BE91-2C157A91F8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fld id="{0BBFC357-94BC-44C8-B600-C5D15BBAA3CF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53914C56-DBD3-048F-2A39-AA64E5765579}"/>
              </a:ext>
            </a:extLst>
          </p:cNvPr>
          <p:cNvSpPr txBox="1"/>
          <p:nvPr/>
        </p:nvSpPr>
        <p:spPr bwMode="gray">
          <a:xfrm>
            <a:off x="407988" y="6274439"/>
            <a:ext cx="11376000" cy="179022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 algn="r"/>
            <a:r>
              <a:rPr lang="de-DE" sz="1000" spc="10" baseline="30000">
                <a:cs typeface="EnBW DIN Pro"/>
              </a:rPr>
              <a:t>1</a:t>
            </a:r>
            <a:r>
              <a:rPr lang="de-DE" sz="1000" spc="10">
                <a:cs typeface="EnBW DIN Pro"/>
              </a:rPr>
              <a:t> enthalten ist die Mobilfunktelefonie in alle deutsche Mobilfunknetze. </a:t>
            </a:r>
            <a:r>
              <a:rPr lang="de-DE" sz="1000" spc="1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│ </a:t>
            </a:r>
            <a:r>
              <a:rPr lang="de-DE" sz="1000" spc="10" baseline="30000">
                <a:cs typeface="EnBW DIN Pro"/>
              </a:rPr>
              <a:t>2</a:t>
            </a:r>
            <a:r>
              <a:rPr lang="de-DE" sz="1000" spc="10">
                <a:cs typeface="EnBW DIN Pro"/>
              </a:rPr>
              <a:t> enthalten ist die Festnetztelefonie in folgende Länder: Belgien, Dänemark, Estland,</a:t>
            </a:r>
            <a:br>
              <a:rPr lang="de-DE" sz="1000" spc="10">
                <a:cs typeface="EnBW DIN Pro"/>
              </a:rPr>
            </a:br>
            <a:r>
              <a:rPr lang="de-DE" sz="1000" spc="10">
                <a:cs typeface="EnBW DIN Pro"/>
              </a:rPr>
              <a:t>Frankreich, Griechenland, Großbritannien, Irland, Italien, Luxemburg, Niederlande, Österreich, Polen, Portugal, Schweden, Schweiz, Spanien, Tschechien und Ungarn.</a:t>
            </a:r>
            <a:br>
              <a:rPr lang="de-DE" sz="1000" spc="10">
                <a:cs typeface="EnBW DIN Pro"/>
              </a:rPr>
            </a:br>
            <a:r>
              <a:rPr lang="de-DE" sz="1000" spc="10" baseline="30000">
                <a:cs typeface="EnBW DIN Pro"/>
              </a:rPr>
              <a:t>3</a:t>
            </a:r>
            <a:r>
              <a:rPr lang="de-DE" sz="1000" spc="10">
                <a:cs typeface="EnBW DIN Pro"/>
              </a:rPr>
              <a:t> Preise für Sprachverbindungen ins deutsche Festnetz, Sonderrufnummern, Mobilfunk und Ausland siehe Verbindungsentgelte unter www.netcom-bw.de.</a:t>
            </a:r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BB6D05FC-AE19-2833-2A03-77A563993F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2098921"/>
              </p:ext>
            </p:extLst>
          </p:nvPr>
        </p:nvGraphicFramePr>
        <p:xfrm>
          <a:off x="390505" y="1826227"/>
          <a:ext cx="6696000" cy="108000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02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800" b="0" kern="12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obilfunk</a:t>
                      </a:r>
                      <a:endParaRPr lang="de-DE" sz="1800" b="0" kern="120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/>
                        <a:cs typeface="EnBW DIN Pro"/>
                      </a:endParaRP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800" b="1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800" b="1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800" b="1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inutenpaket</a:t>
                      </a:r>
                      <a:r>
                        <a:rPr lang="de-DE" sz="1400" b="0" kern="0" baseline="300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de-DE" sz="1400" b="0">
                        <a:solidFill>
                          <a:schemeClr val="tx1"/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>
                          <a:solidFill>
                            <a:schemeClr val="tx1"/>
                          </a:solidFill>
                          <a:latin typeface="+mn-lt"/>
                        </a:rPr>
                        <a:t>60</a:t>
                      </a: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>
                          <a:solidFill>
                            <a:schemeClr val="tx1"/>
                          </a:solidFill>
                          <a:latin typeface="+mn-lt"/>
                        </a:rPr>
                        <a:t>120</a:t>
                      </a: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>
                          <a:solidFill>
                            <a:schemeClr val="tx1"/>
                          </a:solidFill>
                          <a:latin typeface="+mn-lt"/>
                        </a:rPr>
                        <a:t>240</a:t>
                      </a: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eis monatlich</a:t>
                      </a:r>
                      <a:endParaRPr lang="de-DE" sz="1400" b="0" kern="12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EnBW DIN Pro"/>
                      </a:endParaRP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>
                          <a:solidFill>
                            <a:schemeClr val="tx1"/>
                          </a:solidFill>
                          <a:latin typeface="+mn-lt"/>
                        </a:rPr>
                        <a:t>3,30 €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>
                          <a:solidFill>
                            <a:schemeClr val="tx1"/>
                          </a:solidFill>
                          <a:latin typeface="+mn-lt"/>
                        </a:rPr>
                        <a:t>6,60 €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>
                          <a:solidFill>
                            <a:schemeClr val="tx1"/>
                          </a:solidFill>
                          <a:latin typeface="+mn-lt"/>
                        </a:rPr>
                        <a:t>13,20 €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BAF547FD-2C4E-CA5D-6487-ECF371A686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7033565"/>
              </p:ext>
            </p:extLst>
          </p:nvPr>
        </p:nvGraphicFramePr>
        <p:xfrm>
          <a:off x="390505" y="3167673"/>
          <a:ext cx="6696000" cy="108000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02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800" b="0" kern="12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Europa</a:t>
                      </a: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800" b="1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800" b="1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e-DE" sz="1800" b="1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inutenpaket</a:t>
                      </a:r>
                      <a:r>
                        <a:rPr lang="de-DE" sz="1400" b="0" kern="0" baseline="300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de-DE" sz="1400" b="0">
                        <a:solidFill>
                          <a:schemeClr val="tx1"/>
                        </a:solidFill>
                        <a:latin typeface="+mn-lt"/>
                        <a:ea typeface="Times New Roman"/>
                      </a:endParaRP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>
                          <a:solidFill>
                            <a:schemeClr val="tx1"/>
                          </a:solidFill>
                          <a:latin typeface="+mn-lt"/>
                        </a:rPr>
                        <a:t>120</a:t>
                      </a: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>
                          <a:solidFill>
                            <a:schemeClr val="tx1"/>
                          </a:solidFill>
                          <a:latin typeface="+mn-lt"/>
                        </a:rPr>
                        <a:t>240</a:t>
                      </a: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0">
                          <a:solidFill>
                            <a:schemeClr val="tx1"/>
                          </a:solidFill>
                          <a:latin typeface="+mn-lt"/>
                        </a:rPr>
                        <a:t>360</a:t>
                      </a: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eis monatlich</a:t>
                      </a:r>
                      <a:endParaRPr lang="de-DE" sz="1400" b="0" kern="1200">
                        <a:solidFill>
                          <a:schemeClr val="tx1"/>
                        </a:solidFill>
                        <a:effectLst/>
                        <a:latin typeface="+mn-lt"/>
                        <a:ea typeface="Times New Roman"/>
                        <a:cs typeface="EnBW DIN Pro"/>
                      </a:endParaRP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>
                          <a:solidFill>
                            <a:schemeClr val="tx1"/>
                          </a:solidFill>
                          <a:latin typeface="+mn-lt"/>
                        </a:rPr>
                        <a:t>1,90 €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>
                          <a:solidFill>
                            <a:schemeClr val="tx1"/>
                          </a:solidFill>
                          <a:latin typeface="+mn-lt"/>
                        </a:rPr>
                        <a:t>3,50 €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400" b="1">
                          <a:solidFill>
                            <a:schemeClr val="tx1"/>
                          </a:solidFill>
                          <a:latin typeface="+mn-lt"/>
                        </a:rPr>
                        <a:t>6,20 €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2" name="Tabelle 11">
            <a:extLst>
              <a:ext uri="{FF2B5EF4-FFF2-40B4-BE49-F238E27FC236}">
                <a16:creationId xmlns:a16="http://schemas.microsoft.com/office/drawing/2014/main" id="{BCFEE55B-0CF1-DA41-FF1C-CACB15B451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7434622"/>
              </p:ext>
            </p:extLst>
          </p:nvPr>
        </p:nvGraphicFramePr>
        <p:xfrm>
          <a:off x="390505" y="4509120"/>
          <a:ext cx="6768000" cy="108000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302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4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60000">
                <a:tc gridSpan="2"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de-DE" sz="1800" b="0" kern="120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. und 4. Rufnummer</a:t>
                      </a: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de-DE" sz="1800" b="1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0" marR="0" marT="14400" marB="1440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it Flatrate ins deutsche Festnetz</a:t>
                      </a:r>
                    </a:p>
                  </a:txBody>
                  <a:tcPr marL="0" marR="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b="0">
                          <a:solidFill>
                            <a:schemeClr val="tx1"/>
                          </a:solidFill>
                          <a:latin typeface="+mn-lt"/>
                        </a:rPr>
                        <a:t>monatlich      je </a:t>
                      </a:r>
                      <a:r>
                        <a:rPr lang="de-DE" sz="1400" b="1">
                          <a:solidFill>
                            <a:schemeClr val="tx1"/>
                          </a:solidFill>
                          <a:latin typeface="+mn-lt"/>
                        </a:rPr>
                        <a:t>4,95 €</a:t>
                      </a:r>
                    </a:p>
                  </a:txBody>
                  <a:tcPr marL="0" marR="936000" marT="14400" marB="144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b="0" kern="12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hne Flatrate ins deutsche Festnetz</a:t>
                      </a:r>
                      <a:r>
                        <a:rPr lang="de-DE" sz="1400" b="0" kern="1200" baseline="3000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0" marR="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400" b="0">
                          <a:solidFill>
                            <a:schemeClr val="tx1"/>
                          </a:solidFill>
                          <a:latin typeface="+mn-lt"/>
                        </a:rPr>
                        <a:t>einmalig        je </a:t>
                      </a:r>
                      <a:r>
                        <a:rPr lang="de-DE" sz="1400" b="1">
                          <a:solidFill>
                            <a:schemeClr val="tx1"/>
                          </a:solidFill>
                          <a:latin typeface="+mn-lt"/>
                        </a:rPr>
                        <a:t>9,90 €</a:t>
                      </a:r>
                    </a:p>
                  </a:txBody>
                  <a:tcPr marL="0" marR="936000" marT="14400" marB="144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4" name="Inhaltsplatzhalter 1">
            <a:extLst>
              <a:ext uri="{FF2B5EF4-FFF2-40B4-BE49-F238E27FC236}">
                <a16:creationId xmlns:a16="http://schemas.microsoft.com/office/drawing/2014/main" id="{5890D756-177C-9F1A-E1D0-371BD2F6F994}"/>
              </a:ext>
            </a:extLst>
          </p:cNvPr>
          <p:cNvSpPr txBox="1">
            <a:spLocks/>
          </p:cNvSpPr>
          <p:nvPr/>
        </p:nvSpPr>
        <p:spPr bwMode="auto">
          <a:xfrm>
            <a:off x="8130953" y="2835750"/>
            <a:ext cx="2232247" cy="2872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defTabSz="914133">
              <a:spcBef>
                <a:spcPts val="800"/>
              </a:spcBef>
              <a:buClr>
                <a:srgbClr val="FF9900"/>
              </a:buClr>
              <a:defRPr/>
            </a:pPr>
            <a:r>
              <a:rPr lang="de-DE" sz="1800" b="0" kern="0">
                <a:solidFill>
                  <a:schemeClr val="tx1"/>
                </a:solidFill>
                <a:latin typeface="+mj-lt"/>
              </a:rPr>
              <a:t>Mindestlaufzeit</a:t>
            </a:r>
            <a:br>
              <a:rPr lang="de-DE" sz="1800" b="0" kern="0">
                <a:solidFill>
                  <a:schemeClr val="tx1"/>
                </a:solidFill>
                <a:latin typeface="+mj-lt"/>
              </a:rPr>
            </a:br>
            <a:r>
              <a:rPr lang="de-DE" sz="1400" b="0" kern="0">
                <a:solidFill>
                  <a:schemeClr val="tx1"/>
                </a:solidFill>
              </a:rPr>
              <a:t>6 Monate, automatische</a:t>
            </a:r>
            <a:br>
              <a:rPr lang="de-DE" sz="1400" b="0" kern="0">
                <a:solidFill>
                  <a:schemeClr val="tx1"/>
                </a:solidFill>
              </a:rPr>
            </a:br>
            <a:r>
              <a:rPr lang="de-DE" sz="1400" b="0" kern="0">
                <a:solidFill>
                  <a:schemeClr val="tx1"/>
                </a:solidFill>
              </a:rPr>
              <a:t>Verlängerung um</a:t>
            </a:r>
            <a:br>
              <a:rPr lang="de-DE" sz="1400" b="0" kern="0">
                <a:solidFill>
                  <a:schemeClr val="tx1"/>
                </a:solidFill>
              </a:rPr>
            </a:br>
            <a:r>
              <a:rPr lang="de-DE" sz="1400" b="0" kern="0">
                <a:solidFill>
                  <a:schemeClr val="tx1"/>
                </a:solidFill>
              </a:rPr>
              <a:t>jeweils 1 Monat</a:t>
            </a:r>
          </a:p>
          <a:p>
            <a:pPr defTabSz="914133">
              <a:spcBef>
                <a:spcPts val="800"/>
              </a:spcBef>
              <a:buClr>
                <a:srgbClr val="FF9900"/>
              </a:buClr>
              <a:defRPr/>
            </a:pPr>
            <a:endParaRPr lang="de-DE" sz="1200" b="0" kern="0">
              <a:solidFill>
                <a:schemeClr val="tx1"/>
              </a:solidFill>
            </a:endParaRPr>
          </a:p>
          <a:p>
            <a:pPr defTabSz="914133">
              <a:spcBef>
                <a:spcPts val="800"/>
              </a:spcBef>
              <a:buClr>
                <a:srgbClr val="FF9900"/>
              </a:buClr>
              <a:defRPr/>
            </a:pPr>
            <a:endParaRPr lang="de-DE" sz="1200" b="0" kern="0">
              <a:solidFill>
                <a:srgbClr val="3B3B3B"/>
              </a:solidFill>
            </a:endParaRPr>
          </a:p>
          <a:p>
            <a:pPr defTabSz="914133">
              <a:spcBef>
                <a:spcPts val="800"/>
              </a:spcBef>
              <a:buClr>
                <a:srgbClr val="FF9900"/>
              </a:buClr>
              <a:defRPr/>
            </a:pPr>
            <a:endParaRPr lang="de-DE" sz="1200" b="0" kern="0">
              <a:solidFill>
                <a:schemeClr val="tx1"/>
              </a:solidFill>
            </a:endParaRPr>
          </a:p>
          <a:p>
            <a:pPr defTabSz="914133">
              <a:spcBef>
                <a:spcPts val="800"/>
              </a:spcBef>
              <a:buClr>
                <a:srgbClr val="FF9900"/>
              </a:buClr>
              <a:defRPr/>
            </a:pPr>
            <a:r>
              <a:rPr lang="de-DE" sz="1800" b="0" kern="0">
                <a:solidFill>
                  <a:schemeClr val="tx1"/>
                </a:solidFill>
                <a:latin typeface="+mj-lt"/>
              </a:rPr>
              <a:t>Kündigungsfrist</a:t>
            </a:r>
            <a:br>
              <a:rPr lang="de-DE" sz="1800" b="0" kern="0">
                <a:solidFill>
                  <a:srgbClr val="3B3B3B"/>
                </a:solidFill>
              </a:rPr>
            </a:br>
            <a:r>
              <a:rPr lang="de-DE" sz="1400" b="0" kern="0">
                <a:solidFill>
                  <a:schemeClr val="tx1"/>
                </a:solidFill>
              </a:rPr>
              <a:t>4 Wochen zum Laufzeitende</a:t>
            </a:r>
          </a:p>
          <a:p>
            <a:pPr defTabSz="914133">
              <a:spcBef>
                <a:spcPts val="800"/>
              </a:spcBef>
              <a:buClr>
                <a:srgbClr val="FF9900"/>
              </a:buClr>
              <a:defRPr/>
            </a:pPr>
            <a:endParaRPr lang="de-DE" sz="1400" kern="0">
              <a:solidFill>
                <a:schemeClr val="tx1"/>
              </a:solidFill>
            </a:endParaRPr>
          </a:p>
          <a:p>
            <a:pPr marL="0" lvl="2" indent="0" defTabSz="914133">
              <a:spcBef>
                <a:spcPts val="800"/>
              </a:spcBef>
              <a:buNone/>
              <a:defRPr/>
            </a:pPr>
            <a:endParaRPr lang="de-DE" kern="0">
              <a:solidFill>
                <a:srgbClr val="3B3B3B"/>
              </a:solidFill>
              <a:latin typeface="EnBW DIN Pro"/>
            </a:endParaRP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7359F7C3-A5B0-8437-0612-2FBC324CF91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164052" y="2276872"/>
            <a:ext cx="481455" cy="468785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1A617002-DFFC-9BD6-8B2A-DA86C2252F5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64052" y="4127385"/>
            <a:ext cx="418106" cy="506795"/>
          </a:xfrm>
          <a:prstGeom prst="rect">
            <a:avLst/>
          </a:prstGeom>
        </p:spPr>
      </p:pic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8FF608C2-BC8F-1082-A694-750616688215}"/>
              </a:ext>
            </a:extLst>
          </p:cNvPr>
          <p:cNvCxnSpPr>
            <a:cxnSpLocks/>
          </p:cNvCxnSpPr>
          <p:nvPr/>
        </p:nvCxnSpPr>
        <p:spPr>
          <a:xfrm flipV="1">
            <a:off x="7661395" y="1881188"/>
            <a:ext cx="0" cy="360000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5196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BF58086-35F8-F2E0-24F8-6872340975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296863"/>
            <a:ext cx="8784357" cy="503845"/>
          </a:xfrm>
        </p:spPr>
        <p:txBody>
          <a:bodyPr/>
          <a:lstStyle/>
          <a:p>
            <a:r>
              <a:rPr lang="de-DE"/>
              <a:t>Auswahl Standardrouter – Premiumrouter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56B326B-324B-6BD1-D86E-BC605E6934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7987" y="6543420"/>
            <a:ext cx="10044113" cy="143869"/>
          </a:xfrm>
        </p:spPr>
        <p:txBody>
          <a:bodyPr/>
          <a:lstStyle/>
          <a:p>
            <a:r>
              <a:rPr lang="de-DE"/>
              <a:t>Bereit fürs Glasfaserland? | Oktober 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6E61618-F69B-143D-F4F7-81F9967B9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9850" y="6543420"/>
            <a:ext cx="281577" cy="143868"/>
          </a:xfrm>
        </p:spPr>
        <p:txBody>
          <a:bodyPr/>
          <a:lstStyle/>
          <a:p>
            <a:fld id="{0BBFC357-94BC-44C8-B600-C5D15BBAA3CF}" type="slidenum">
              <a:rPr lang="de-DE" smtClean="0"/>
              <a:pPr/>
              <a:t>9</a:t>
            </a:fld>
            <a:endParaRPr lang="de-DE"/>
          </a:p>
        </p:txBody>
      </p:sp>
      <p:graphicFrame>
        <p:nvGraphicFramePr>
          <p:cNvPr id="5" name="Tabelle 14">
            <a:extLst>
              <a:ext uri="{FF2B5EF4-FFF2-40B4-BE49-F238E27FC236}">
                <a16:creationId xmlns:a16="http://schemas.microsoft.com/office/drawing/2014/main" id="{9FE76F17-59C8-C8C9-31CA-70FBA21F67D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85528998"/>
              </p:ext>
            </p:extLst>
          </p:nvPr>
        </p:nvGraphicFramePr>
        <p:xfrm>
          <a:off x="401751" y="1828800"/>
          <a:ext cx="8172000" cy="443197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92000">
                  <a:extLst>
                    <a:ext uri="{9D8B030D-6E8A-4147-A177-3AD203B41FA5}">
                      <a16:colId xmlns:a16="http://schemas.microsoft.com/office/drawing/2014/main" val="1321339472"/>
                    </a:ext>
                  </a:extLst>
                </a:gridCol>
                <a:gridCol w="216000">
                  <a:extLst>
                    <a:ext uri="{9D8B030D-6E8A-4147-A177-3AD203B41FA5}">
                      <a16:colId xmlns:a16="http://schemas.microsoft.com/office/drawing/2014/main" val="2936891332"/>
                    </a:ext>
                  </a:extLst>
                </a:gridCol>
                <a:gridCol w="3024000">
                  <a:extLst>
                    <a:ext uri="{9D8B030D-6E8A-4147-A177-3AD203B41FA5}">
                      <a16:colId xmlns:a16="http://schemas.microsoft.com/office/drawing/2014/main" val="66879746"/>
                    </a:ext>
                  </a:extLst>
                </a:gridCol>
                <a:gridCol w="216000">
                  <a:extLst>
                    <a:ext uri="{9D8B030D-6E8A-4147-A177-3AD203B41FA5}">
                      <a16:colId xmlns:a16="http://schemas.microsoft.com/office/drawing/2014/main" val="1230202594"/>
                    </a:ext>
                  </a:extLst>
                </a:gridCol>
                <a:gridCol w="3024000">
                  <a:extLst>
                    <a:ext uri="{9D8B030D-6E8A-4147-A177-3AD203B41FA5}">
                      <a16:colId xmlns:a16="http://schemas.microsoft.com/office/drawing/2014/main" val="2368566641"/>
                    </a:ext>
                  </a:extLst>
                </a:gridCol>
              </a:tblGrid>
              <a:tr h="479622">
                <a:tc>
                  <a:txBody>
                    <a:bodyPr/>
                    <a:lstStyle/>
                    <a:p>
                      <a:endParaRPr lang="de-DE" sz="110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0" marR="0" marT="14400" marB="14400" anchor="ctr"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400">
                        <a:solidFill>
                          <a:schemeClr val="tx2"/>
                        </a:solidFill>
                        <a:latin typeface="+mn-lt"/>
                      </a:endParaRPr>
                    </a:p>
                  </a:txBody>
                  <a:tcPr marL="0" marR="0" marT="14400" marB="1440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6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err="1">
                          <a:solidFill>
                            <a:schemeClr val="tx1"/>
                          </a:solidFill>
                          <a:latin typeface="+mj-lt"/>
                        </a:rPr>
                        <a:t>FRITZ!Box</a:t>
                      </a:r>
                      <a:r>
                        <a:rPr lang="de-DE" sz="1600">
                          <a:solidFill>
                            <a:schemeClr val="tx1"/>
                          </a:solidFill>
                          <a:latin typeface="+mj-lt"/>
                        </a:rPr>
                        <a:t> 7530 AX</a:t>
                      </a:r>
                      <a:br>
                        <a:rPr lang="de-DE" sz="160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(Standardrouter) </a:t>
                      </a:r>
                      <a:b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de-DE" sz="1000" b="0" kern="1200">
                          <a:solidFill>
                            <a:schemeClr val="tx1"/>
                          </a:solidFill>
                          <a:latin typeface="+mn-lt"/>
                        </a:rPr>
                        <a:t>für</a:t>
                      </a:r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de-DE" sz="1000" b="1">
                          <a:solidFill>
                            <a:schemeClr val="tx1"/>
                          </a:solidFill>
                          <a:latin typeface="+mn-lt"/>
                        </a:rPr>
                        <a:t>99 €</a:t>
                      </a:r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de-DE" sz="1000" b="0" strike="noStrike" baseline="0">
                          <a:solidFill>
                            <a:schemeClr val="tx1"/>
                          </a:solidFill>
                          <a:latin typeface="+mn-lt"/>
                        </a:rPr>
                        <a:t>/ einmalig</a:t>
                      </a:r>
                      <a:endParaRPr lang="de-DE" sz="10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6000" marR="0" marT="14400" marB="72000" anchor="ctr"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6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14400" marB="72000" anchor="ctr"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61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err="1">
                          <a:solidFill>
                            <a:schemeClr val="tx1"/>
                          </a:solidFill>
                          <a:latin typeface="+mj-lt"/>
                        </a:rPr>
                        <a:t>FRITZ!Box</a:t>
                      </a:r>
                      <a:r>
                        <a:rPr lang="de-DE" sz="1600">
                          <a:solidFill>
                            <a:schemeClr val="tx1"/>
                          </a:solidFill>
                          <a:latin typeface="+mj-lt"/>
                        </a:rPr>
                        <a:t> 7590 AX v2.0</a:t>
                      </a:r>
                      <a:br>
                        <a:rPr lang="de-DE" sz="160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(Premiumrouter) </a:t>
                      </a:r>
                      <a:br>
                        <a:rPr lang="de-DE" sz="1200" b="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de-DE" sz="1000" b="0" kern="1200">
                          <a:solidFill>
                            <a:schemeClr val="tx1"/>
                          </a:solidFill>
                          <a:latin typeface="+mn-lt"/>
                        </a:rPr>
                        <a:t>für</a:t>
                      </a:r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de-DE" sz="1000" b="1">
                          <a:solidFill>
                            <a:schemeClr val="tx1"/>
                          </a:solidFill>
                          <a:latin typeface="+mn-lt"/>
                        </a:rPr>
                        <a:t>169 €</a:t>
                      </a:r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de-DE" sz="1000" b="0" strike="noStrike" baseline="0">
                          <a:solidFill>
                            <a:schemeClr val="tx1"/>
                          </a:solidFill>
                          <a:latin typeface="+mn-lt"/>
                        </a:rPr>
                        <a:t>/ einmalig </a:t>
                      </a:r>
                      <a:endParaRPr lang="de-DE" sz="10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6000" marR="0" marT="14400" marB="72000" anchor="ctr"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8677987"/>
                  </a:ext>
                </a:extLst>
              </a:tr>
              <a:tr h="163013">
                <a:tc>
                  <a:txBody>
                    <a:bodyPr/>
                    <a:lstStyle/>
                    <a:p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VDSL-</a:t>
                      </a:r>
                      <a:r>
                        <a:rPr lang="de-DE" sz="1000" b="0" err="1">
                          <a:solidFill>
                            <a:schemeClr val="tx1"/>
                          </a:solidFill>
                          <a:latin typeface="+mn-lt"/>
                        </a:rPr>
                        <a:t>Supervectoring</a:t>
                      </a:r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 35b</a:t>
                      </a:r>
                    </a:p>
                  </a:txBody>
                  <a:tcPr marL="0" marR="0" marT="21600" marB="216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50215" algn="l"/>
                        </a:tabLst>
                      </a:pPr>
                      <a:r>
                        <a:rPr lang="en-US" sz="1000" b="0">
                          <a:solidFill>
                            <a:schemeClr val="bg2"/>
                          </a:solidFill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de-DE" sz="1000" b="0">
                        <a:solidFill>
                          <a:schemeClr val="bg2"/>
                        </a:solidFill>
                        <a:effectLst/>
                        <a:latin typeface="DIN-Regular" panose="020B0500010101010101" pitchFamily="34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1600" marB="216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50215" algn="l"/>
                        </a:tabLst>
                      </a:pPr>
                      <a:endParaRPr lang="de-DE" sz="400" b="0">
                        <a:solidFill>
                          <a:schemeClr val="bg2"/>
                        </a:solidFill>
                        <a:effectLst/>
                        <a:latin typeface="DIN-Regular" panose="020B0500010101010101" pitchFamily="34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50215" algn="l"/>
                        </a:tabLst>
                      </a:pPr>
                      <a:r>
                        <a:rPr lang="en-US" sz="1000" b="0">
                          <a:solidFill>
                            <a:schemeClr val="bg2"/>
                          </a:solidFill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de-DE" sz="1000" b="0">
                        <a:solidFill>
                          <a:schemeClr val="bg2"/>
                        </a:solidFill>
                        <a:effectLst/>
                        <a:latin typeface="DIN-Regular" panose="020B0500010101010101" pitchFamily="34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1600" marB="216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0551453"/>
                  </a:ext>
                </a:extLst>
              </a:tr>
              <a:tr h="163013">
                <a:tc>
                  <a:txBody>
                    <a:bodyPr/>
                    <a:lstStyle/>
                    <a:p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ADSL/ADSL2+</a:t>
                      </a: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E8F11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de-DE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E8F11"/>
                        </a:solidFill>
                        <a:effectLst/>
                        <a:uLnTx/>
                        <a:uFillTx/>
                        <a:latin typeface="DIN-Regular" panose="020B0500010101010101" pitchFamily="34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endParaRPr kumimoji="0" lang="de-DE" sz="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E8F11"/>
                        </a:solidFill>
                        <a:effectLst/>
                        <a:uLnTx/>
                        <a:uFillTx/>
                        <a:latin typeface="DIN-Regular" panose="020B0500010101010101" pitchFamily="34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>
                          <a:solidFill>
                            <a:schemeClr val="bg2"/>
                          </a:solidFill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r>
                        <a:rPr lang="de-DE" sz="1000">
                          <a:solidFill>
                            <a:schemeClr val="tx1"/>
                          </a:solidFill>
                          <a:latin typeface="+mn-lt"/>
                          <a:sym typeface="Wingdings 2" panose="05020102010507070707" pitchFamily="18" charset="2"/>
                        </a:rPr>
                        <a:t> ADSL2+</a:t>
                      </a:r>
                      <a:endParaRPr lang="de-DE" sz="10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7498768"/>
                  </a:ext>
                </a:extLst>
              </a:tr>
              <a:tr h="163013">
                <a:tc>
                  <a:txBody>
                    <a:bodyPr/>
                    <a:lstStyle/>
                    <a:p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VDSL</a:t>
                      </a: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E8F11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de-DE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E8F11"/>
                        </a:solidFill>
                        <a:effectLst/>
                        <a:uLnTx/>
                        <a:uFillTx/>
                        <a:latin typeface="DIN-Regular" panose="020B0500010101010101" pitchFamily="34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endParaRPr kumimoji="0" lang="de-DE" sz="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E8F11"/>
                        </a:solidFill>
                        <a:effectLst/>
                        <a:uLnTx/>
                        <a:uFillTx/>
                        <a:latin typeface="DIN-Regular" panose="020B0500010101010101" pitchFamily="34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50215" algn="l"/>
                        </a:tabLst>
                      </a:pPr>
                      <a:r>
                        <a:rPr lang="en-US" sz="1000" b="0">
                          <a:solidFill>
                            <a:schemeClr val="bg2"/>
                          </a:solidFill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de-DE" sz="1000" b="0">
                        <a:solidFill>
                          <a:schemeClr val="bg2"/>
                        </a:solidFill>
                        <a:effectLst/>
                        <a:latin typeface="DIN-Regular" panose="020B0500010101010101" pitchFamily="34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5459072"/>
                  </a:ext>
                </a:extLst>
              </a:tr>
              <a:tr h="156607">
                <a:tc>
                  <a:txBody>
                    <a:bodyPr/>
                    <a:lstStyle/>
                    <a:p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Gigabit LAN</a:t>
                      </a: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>
                          <a:solidFill>
                            <a:schemeClr val="tx1"/>
                          </a:solidFill>
                          <a:latin typeface="+mn-lt"/>
                        </a:rPr>
                        <a:t>4x</a:t>
                      </a: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>
                          <a:solidFill>
                            <a:schemeClr val="tx1"/>
                          </a:solidFill>
                          <a:latin typeface="+mn-lt"/>
                        </a:rPr>
                        <a:t>4x</a:t>
                      </a: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3366872"/>
                  </a:ext>
                </a:extLst>
              </a:tr>
              <a:tr h="156607">
                <a:tc>
                  <a:txBody>
                    <a:bodyPr/>
                    <a:lstStyle/>
                    <a:p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Gigabit WAN</a:t>
                      </a: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400" b="1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>
                          <a:solidFill>
                            <a:schemeClr val="tx1"/>
                          </a:solidFill>
                          <a:latin typeface="+mn-lt"/>
                          <a:sym typeface="Wingdings 2" panose="05020102010507070707" pitchFamily="18" charset="2"/>
                        </a:rPr>
                        <a:t>Über LAN1-Port</a:t>
                      </a:r>
                      <a:endParaRPr lang="de-DE" sz="10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>
                          <a:solidFill>
                            <a:schemeClr val="tx1"/>
                          </a:solidFill>
                          <a:latin typeface="+mn-lt"/>
                          <a:sym typeface="Wingdings 2" panose="05020102010507070707" pitchFamily="18" charset="2"/>
                        </a:rPr>
                        <a:t>1x</a:t>
                      </a:r>
                      <a:endParaRPr lang="de-DE" sz="1000" b="1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04604553"/>
                  </a:ext>
                </a:extLst>
              </a:tr>
              <a:tr h="461655">
                <a:tc>
                  <a:txBody>
                    <a:bodyPr/>
                    <a:lstStyle/>
                    <a:p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WLAN</a:t>
                      </a:r>
                    </a:p>
                  </a:txBody>
                  <a:tcPr marL="0" marR="0" marT="21600" marB="21600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400" b="1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>
                          <a:solidFill>
                            <a:schemeClr val="tx1"/>
                          </a:solidFill>
                          <a:latin typeface="+mn-lt"/>
                        </a:rPr>
                        <a:t>Wi-Fi 6 (WLAN AX) bis 1.800 Mbit/s (5 GHz)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>
                          <a:solidFill>
                            <a:schemeClr val="tx1"/>
                          </a:solidFill>
                          <a:latin typeface="+mn-lt"/>
                        </a:rPr>
                        <a:t>und 600 Mbit/s (2,4 GHz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2x2 (2,4 GHz), 3x3 (5 GHz) mit Multi-User-MIMO</a:t>
                      </a:r>
                    </a:p>
                  </a:txBody>
                  <a:tcPr marL="0" marR="0" marT="21600" marB="21600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>
                          <a:solidFill>
                            <a:schemeClr val="tx1"/>
                          </a:solidFill>
                          <a:latin typeface="+mn-lt"/>
                        </a:rPr>
                        <a:t>Wi-Fi 6 (WLAN AX) bis 2.400 Mbit/s (5 GHz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>
                          <a:solidFill>
                            <a:schemeClr val="tx1"/>
                          </a:solidFill>
                          <a:latin typeface="+mn-lt"/>
                        </a:rPr>
                        <a:t>und 1.200 Mbit/s (2,4 GHz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>
                          <a:solidFill>
                            <a:schemeClr val="tx1"/>
                          </a:solidFill>
                          <a:latin typeface="+mn-lt"/>
                        </a:rPr>
                        <a:t>4x4 Wi-Fi 6 (WLAN AX) mit Multi-User-MIMO</a:t>
                      </a:r>
                    </a:p>
                  </a:txBody>
                  <a:tcPr marL="0" marR="0" marT="21600" marB="21600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5212408"/>
                  </a:ext>
                </a:extLst>
              </a:tr>
              <a:tr h="156607">
                <a:tc>
                  <a:txBody>
                    <a:bodyPr/>
                    <a:lstStyle/>
                    <a:p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Telefonanlage</a:t>
                      </a: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>
                          <a:solidFill>
                            <a:schemeClr val="tx1"/>
                          </a:solidFill>
                          <a:latin typeface="+mn-lt"/>
                        </a:rPr>
                        <a:t>für IP basierte Telefone</a:t>
                      </a: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>
                          <a:solidFill>
                            <a:schemeClr val="tx1"/>
                          </a:solidFill>
                          <a:latin typeface="+mn-lt"/>
                        </a:rPr>
                        <a:t>für IP basierte Telefone</a:t>
                      </a: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0465538"/>
                  </a:ext>
                </a:extLst>
              </a:tr>
              <a:tr h="400646">
                <a:tc>
                  <a:txBody>
                    <a:bodyPr/>
                    <a:lstStyle/>
                    <a:p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Telefonanschlüsse</a:t>
                      </a:r>
                    </a:p>
                  </a:txBody>
                  <a:tcPr marL="0" marR="0" marT="21600" marB="21600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400" b="1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>
                          <a:solidFill>
                            <a:schemeClr val="tx1"/>
                          </a:solidFill>
                          <a:latin typeface="+mn-lt"/>
                        </a:rPr>
                        <a:t>1x a/b-Port (wahlweise TAE/RJ11) für analoges</a:t>
                      </a:r>
                      <a:br>
                        <a:rPr lang="de-DE" sz="100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de-DE" sz="1000">
                          <a:solidFill>
                            <a:schemeClr val="tx1"/>
                          </a:solidFill>
                          <a:latin typeface="+mn-lt"/>
                        </a:rPr>
                        <a:t>Telefon, Anrufbeantworter und Fax </a:t>
                      </a:r>
                      <a:br>
                        <a:rPr lang="de-DE" sz="100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de-DE" sz="1000">
                          <a:solidFill>
                            <a:schemeClr val="tx1"/>
                          </a:solidFill>
                          <a:latin typeface="+mn-lt"/>
                        </a:rPr>
                        <a:t>(kein ISDN/S0-Bus)</a:t>
                      </a:r>
                    </a:p>
                  </a:txBody>
                  <a:tcPr marL="0" marR="0" marT="21600" marB="21600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>
                          <a:solidFill>
                            <a:schemeClr val="tx1"/>
                          </a:solidFill>
                          <a:latin typeface="+mn-lt"/>
                        </a:rPr>
                        <a:t>2x a/b-Port (wahlweise TAE/RJ11) für analoges Telefon, Anrufbeantworter und Fax </a:t>
                      </a:r>
                      <a:br>
                        <a:rPr lang="de-DE" sz="1000" b="1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(kein ISDN/S0-Bus)</a:t>
                      </a:r>
                    </a:p>
                  </a:txBody>
                  <a:tcPr marL="0" marR="0" marT="21600" marB="21600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00140813"/>
                  </a:ext>
                </a:extLst>
              </a:tr>
              <a:tr h="156607">
                <a:tc>
                  <a:txBody>
                    <a:bodyPr/>
                    <a:lstStyle/>
                    <a:p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DECT-Basis</a:t>
                      </a: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>
                          <a:solidFill>
                            <a:schemeClr val="tx1"/>
                          </a:solidFill>
                          <a:latin typeface="+mn-lt"/>
                          <a:sym typeface="Wingdings 2" panose="05020102010507070707" pitchFamily="18" charset="2"/>
                        </a:rPr>
                        <a:t>Für bis zu 6 Schnurlostelefone</a:t>
                      </a:r>
                      <a:endParaRPr lang="de-DE" sz="10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>
                          <a:solidFill>
                            <a:schemeClr val="tx1"/>
                          </a:solidFill>
                          <a:latin typeface="+mn-lt"/>
                          <a:sym typeface="Wingdings 2" panose="05020102010507070707" pitchFamily="18" charset="2"/>
                        </a:rPr>
                        <a:t>Für bis zu 6 Schnurlostelefone</a:t>
                      </a:r>
                      <a:endParaRPr lang="de-DE" sz="10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5361056"/>
                  </a:ext>
                </a:extLst>
              </a:tr>
              <a:tr h="163013">
                <a:tc>
                  <a:txBody>
                    <a:bodyPr/>
                    <a:lstStyle/>
                    <a:p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Anrufbeantworter/Fax</a:t>
                      </a: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E8F11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de-DE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E8F11"/>
                        </a:solidFill>
                        <a:effectLst/>
                        <a:uLnTx/>
                        <a:uFillTx/>
                        <a:latin typeface="DIN-Regular" panose="020B0500010101010101" pitchFamily="34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endParaRPr kumimoji="0" lang="de-DE" sz="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E8F11"/>
                        </a:solidFill>
                        <a:effectLst/>
                        <a:uLnTx/>
                        <a:uFillTx/>
                        <a:latin typeface="DIN-Regular" panose="020B0500010101010101" pitchFamily="34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E8F11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de-DE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E8F11"/>
                        </a:solidFill>
                        <a:effectLst/>
                        <a:uLnTx/>
                        <a:uFillTx/>
                        <a:latin typeface="DIN-Regular" panose="020B0500010101010101" pitchFamily="34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0027943"/>
                  </a:ext>
                </a:extLst>
              </a:tr>
              <a:tr h="163013">
                <a:tc>
                  <a:txBody>
                    <a:bodyPr/>
                    <a:lstStyle/>
                    <a:p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Mediaserver</a:t>
                      </a: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E8F11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de-DE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E8F11"/>
                        </a:solidFill>
                        <a:effectLst/>
                        <a:uLnTx/>
                        <a:uFillTx/>
                        <a:latin typeface="DIN-Regular" panose="020B0500010101010101" pitchFamily="34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endParaRPr kumimoji="0" lang="de-DE" sz="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E8F11"/>
                        </a:solidFill>
                        <a:effectLst/>
                        <a:uLnTx/>
                        <a:uFillTx/>
                        <a:latin typeface="DIN-Regular" panose="020B0500010101010101" pitchFamily="34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FE8F11"/>
                          </a:solidFill>
                          <a:effectLst/>
                          <a:uLnTx/>
                          <a:uFillTx/>
                          <a:latin typeface="EnBW DIN Pro"/>
                          <a:ea typeface="+mn-ea"/>
                          <a:cs typeface="+mn-cs"/>
                          <a:sym typeface="Wingdings" panose="05000000000000000000" pitchFamily="2" charset="2"/>
                        </a:rPr>
                        <a:t></a:t>
                      </a:r>
                      <a:endParaRPr kumimoji="0" lang="de-DE" sz="10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E8F11"/>
                        </a:solidFill>
                        <a:effectLst/>
                        <a:uLnTx/>
                        <a:uFillTx/>
                        <a:latin typeface="DIN-Regular" panose="020B0500010101010101" pitchFamily="34" charset="0"/>
                        <a:ea typeface="DIN-Regular" panose="020B0500010101010101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577024"/>
                  </a:ext>
                </a:extLst>
              </a:tr>
              <a:tr h="156607">
                <a:tc>
                  <a:txBody>
                    <a:bodyPr/>
                    <a:lstStyle/>
                    <a:p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USB</a:t>
                      </a: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400" b="1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>
                          <a:solidFill>
                            <a:schemeClr val="tx1"/>
                          </a:solidFill>
                          <a:latin typeface="+mn-lt"/>
                        </a:rPr>
                        <a:t>1x USB 2.0</a:t>
                      </a: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>
                          <a:solidFill>
                            <a:schemeClr val="tx1"/>
                          </a:solidFill>
                          <a:latin typeface="+mn-lt"/>
                        </a:rPr>
                        <a:t>2x USB 3.0</a:t>
                      </a: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35634076"/>
                  </a:ext>
                </a:extLst>
              </a:tr>
              <a:tr h="224164">
                <a:tc>
                  <a:txBody>
                    <a:bodyPr/>
                    <a:lstStyle/>
                    <a:p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Mittlere Leistungsaufnahme</a:t>
                      </a: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400" b="1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6 Watt</a:t>
                      </a: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1">
                          <a:solidFill>
                            <a:schemeClr val="tx1"/>
                          </a:solidFill>
                          <a:latin typeface="+mn-lt"/>
                        </a:rPr>
                        <a:t>14-16 Watt</a:t>
                      </a:r>
                    </a:p>
                  </a:txBody>
                  <a:tcPr marL="0" marR="0" marT="21600" marB="21600" anchor="ctr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1203310"/>
                  </a:ext>
                </a:extLst>
              </a:tr>
              <a:tr h="400646">
                <a:tc>
                  <a:txBody>
                    <a:bodyPr/>
                    <a:lstStyle/>
                    <a:p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Performance</a:t>
                      </a:r>
                    </a:p>
                  </a:txBody>
                  <a:tcPr marL="0" marR="0" marT="21600" marB="21600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de-DE" sz="400" b="1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Vernetzte Anwendungen wie IPTV, Video</a:t>
                      </a:r>
                      <a:b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on Demand und Mediastreaming</a:t>
                      </a:r>
                    </a:p>
                  </a:txBody>
                  <a:tcPr marL="0" marR="0" marT="21600" marB="21600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400" b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21600" marB="21600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Vernetzte Anwendungen wie IPTV, Video on Demand</a:t>
                      </a:r>
                      <a:b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de-DE" sz="1000" b="0">
                          <a:solidFill>
                            <a:schemeClr val="tx1"/>
                          </a:solidFill>
                          <a:latin typeface="+mn-lt"/>
                        </a:rPr>
                        <a:t>und Mediastreaming dank </a:t>
                      </a:r>
                      <a:r>
                        <a:rPr lang="de-DE" sz="1000" b="1">
                          <a:solidFill>
                            <a:schemeClr val="tx1"/>
                          </a:solidFill>
                          <a:latin typeface="+mn-lt"/>
                        </a:rPr>
                        <a:t>leistungsstarkem Dual-</a:t>
                      </a:r>
                      <a:br>
                        <a:rPr lang="de-DE" sz="1000" b="1">
                          <a:solidFill>
                            <a:schemeClr val="tx1"/>
                          </a:solidFill>
                          <a:latin typeface="+mn-lt"/>
                        </a:rPr>
                      </a:br>
                      <a:r>
                        <a:rPr lang="de-DE" sz="1000" b="1">
                          <a:solidFill>
                            <a:schemeClr val="tx1"/>
                          </a:solidFill>
                          <a:latin typeface="+mn-lt"/>
                        </a:rPr>
                        <a:t>Core-Prozessor</a:t>
                      </a:r>
                    </a:p>
                  </a:txBody>
                  <a:tcPr marL="0" marR="0" marT="21600" marB="21600"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68198014"/>
                  </a:ext>
                </a:extLst>
              </a:tr>
            </a:tbl>
          </a:graphicData>
        </a:graphic>
      </p:graphicFrame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AB44AE12-42F1-2B26-2EB1-4FFC1550B6AF}"/>
              </a:ext>
            </a:extLst>
          </p:cNvPr>
          <p:cNvSpPr txBox="1">
            <a:spLocks/>
          </p:cNvSpPr>
          <p:nvPr/>
        </p:nvSpPr>
        <p:spPr>
          <a:xfrm>
            <a:off x="10632821" y="5655957"/>
            <a:ext cx="936000" cy="37062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Aft>
                <a:spcPts val="2400"/>
              </a:spcAft>
              <a:buNone/>
            </a:pPr>
            <a:r>
              <a:rPr lang="de-DE" sz="1800">
                <a:latin typeface="+mj-lt"/>
              </a:rPr>
              <a:t>2 Jahre</a:t>
            </a:r>
            <a:br>
              <a:rPr lang="de-DE" sz="1400" b="1"/>
            </a:br>
            <a:r>
              <a:rPr lang="de-DE" sz="1400"/>
              <a:t>Garantie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0162155D-82A0-482C-2F01-442FB1956F0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911821" y="4977175"/>
            <a:ext cx="378000" cy="540000"/>
          </a:xfrm>
          <a:prstGeom prst="rect">
            <a:avLst/>
          </a:prstGeom>
        </p:spPr>
      </p:pic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8F193BD2-DA74-47F1-5FED-CEFA7FC3EFA1}"/>
              </a:ext>
            </a:extLst>
          </p:cNvPr>
          <p:cNvSpPr txBox="1">
            <a:spLocks/>
          </p:cNvSpPr>
          <p:nvPr/>
        </p:nvSpPr>
        <p:spPr>
          <a:xfrm>
            <a:off x="9264492" y="5655957"/>
            <a:ext cx="936000" cy="370629"/>
          </a:xfrm>
          <a:prstGeom prst="rect">
            <a:avLst/>
          </a:prstGeom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80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bg2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1213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2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Font typeface="Wingdings 2" panose="05020102010507070707" pitchFamily="18" charset="2"/>
              <a:buChar char="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ctr">
              <a:spcAft>
                <a:spcPts val="2400"/>
              </a:spcAft>
              <a:buNone/>
            </a:pPr>
            <a:r>
              <a:rPr lang="de-DE" sz="1800">
                <a:latin typeface="+mj-lt"/>
              </a:rPr>
              <a:t>Einfache</a:t>
            </a:r>
            <a:br>
              <a:rPr lang="de-DE" sz="1800">
                <a:latin typeface="+mj-lt"/>
              </a:rPr>
            </a:br>
            <a:r>
              <a:rPr lang="de-DE" sz="1400"/>
              <a:t>Installation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81D97D25-D58C-7849-ED7D-BEFAA12BED6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62492" y="4944372"/>
            <a:ext cx="540000" cy="540000"/>
          </a:xfrm>
          <a:prstGeom prst="rect">
            <a:avLst/>
          </a:prstGeom>
        </p:spPr>
      </p:pic>
      <p:pic>
        <p:nvPicPr>
          <p:cNvPr id="21" name="Picture 4">
            <a:extLst>
              <a:ext uri="{FF2B5EF4-FFF2-40B4-BE49-F238E27FC236}">
                <a16:creationId xmlns:a16="http://schemas.microsoft.com/office/drawing/2014/main" id="{6F37172B-61D9-1683-7B18-CEF0338FA6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27037" y="1837204"/>
            <a:ext cx="2184823" cy="1365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4">
            <a:extLst>
              <a:ext uri="{FF2B5EF4-FFF2-40B4-BE49-F238E27FC236}">
                <a16:creationId xmlns:a16="http://schemas.microsoft.com/office/drawing/2014/main" id="{52364831-3786-0DE3-9ACD-0E218637CB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71817" y="3290983"/>
            <a:ext cx="1968000" cy="123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3" name="Gerader Verbinder 22">
            <a:extLst>
              <a:ext uri="{FF2B5EF4-FFF2-40B4-BE49-F238E27FC236}">
                <a16:creationId xmlns:a16="http://schemas.microsoft.com/office/drawing/2014/main" id="{8AA91D39-3C9E-B2F4-F35E-9858CE4AD966}"/>
              </a:ext>
            </a:extLst>
          </p:cNvPr>
          <p:cNvCxnSpPr>
            <a:cxnSpLocks/>
          </p:cNvCxnSpPr>
          <p:nvPr/>
        </p:nvCxnSpPr>
        <p:spPr>
          <a:xfrm flipV="1">
            <a:off x="8938809" y="1881188"/>
            <a:ext cx="0" cy="4392612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Grafik 26">
            <a:extLst>
              <a:ext uri="{FF2B5EF4-FFF2-40B4-BE49-F238E27FC236}">
                <a16:creationId xmlns:a16="http://schemas.microsoft.com/office/drawing/2014/main" id="{B9DE5D95-E841-F8B6-533E-93664F7D47D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304083" y="1885954"/>
            <a:ext cx="285750" cy="285750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AB23BEF9-17CA-7C87-FAFF-D0FD2DA858B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58633" y="1885954"/>
            <a:ext cx="285750" cy="285750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D09CABAE-7946-CB0D-FF16-058E80110E1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303867" y="2390920"/>
            <a:ext cx="285750" cy="285750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01675F32-58D4-1FFA-3686-5A263109106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303867" y="3891830"/>
            <a:ext cx="285750" cy="285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9747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7L_tK_cSliETx2Sa4LPE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7L_tK_cSliETx2Sa4LPEg"/>
</p:tagLst>
</file>

<file path=ppt/theme/theme1.xml><?xml version="1.0" encoding="utf-8"?>
<a:theme xmlns:a="http://schemas.openxmlformats.org/drawingml/2006/main" name="Master NetCom BW 2023">
  <a:themeElements>
    <a:clrScheme name="NetCom BW">
      <a:dk1>
        <a:srgbClr val="322A26"/>
      </a:dk1>
      <a:lt1>
        <a:sysClr val="window" lastClr="FFFFFF"/>
      </a:lt1>
      <a:dk2>
        <a:srgbClr val="000099"/>
      </a:dk2>
      <a:lt2>
        <a:srgbClr val="FE8F11"/>
      </a:lt2>
      <a:accent1>
        <a:srgbClr val="E4DAD4"/>
      </a:accent1>
      <a:accent2>
        <a:srgbClr val="84C041"/>
      </a:accent2>
      <a:accent3>
        <a:srgbClr val="5BE3D6"/>
      </a:accent3>
      <a:accent4>
        <a:srgbClr val="1195EB"/>
      </a:accent4>
      <a:accent5>
        <a:srgbClr val="FDC83A"/>
      </a:accent5>
      <a:accent6>
        <a:srgbClr val="E2C39A"/>
      </a:accent6>
      <a:hlink>
        <a:srgbClr val="322A26"/>
      </a:hlink>
      <a:folHlink>
        <a:srgbClr val="322A26"/>
      </a:folHlink>
    </a:clrScheme>
    <a:fontScheme name="EnBW">
      <a:majorFont>
        <a:latin typeface="Mark OT Medium"/>
        <a:ea typeface=""/>
        <a:cs typeface=""/>
      </a:majorFont>
      <a:minorFont>
        <a:latin typeface="EnBW DIN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lIns="72000" tIns="36000" rIns="72000" bIns="36000"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aster_NetCom BW_17082023.potx" id="{5377A4B1-D082-4A6D-9857-A68C419DC380}" vid="{09677112-5AED-40C5-B364-FC89B37000D8}"/>
    </a:ext>
  </a:extLst>
</a:theme>
</file>

<file path=ppt/theme/theme2.xml><?xml version="1.0" encoding="utf-8"?>
<a:theme xmlns:a="http://schemas.openxmlformats.org/drawingml/2006/main" name="Office">
  <a:themeElements>
    <a:clrScheme name="EnBW">
      <a:dk1>
        <a:sysClr val="windowText" lastClr="000000"/>
      </a:dk1>
      <a:lt1>
        <a:sysClr val="window" lastClr="FFFFFF"/>
      </a:lt1>
      <a:dk2>
        <a:srgbClr val="000099"/>
      </a:dk2>
      <a:lt2>
        <a:srgbClr val="FF8F0F"/>
      </a:lt2>
      <a:accent1>
        <a:srgbClr val="E5DFDA"/>
      </a:accent1>
      <a:accent2>
        <a:srgbClr val="87C242"/>
      </a:accent2>
      <a:accent3>
        <a:srgbClr val="5EE5D6"/>
      </a:accent3>
      <a:accent4>
        <a:srgbClr val="1796EB"/>
      </a:accent4>
      <a:accent5>
        <a:srgbClr val="FFC837"/>
      </a:accent5>
      <a:accent6>
        <a:srgbClr val="E3C299"/>
      </a:accent6>
      <a:hlink>
        <a:srgbClr val="000000"/>
      </a:hlink>
      <a:folHlink>
        <a:srgbClr val="000000"/>
      </a:folHlink>
    </a:clrScheme>
    <a:fontScheme name="EnBW">
      <a:majorFont>
        <a:latin typeface="Mark OT Medium"/>
        <a:ea typeface=""/>
        <a:cs typeface=""/>
      </a:majorFont>
      <a:minorFont>
        <a:latin typeface="EnBW DIN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EnBW">
      <a:dk1>
        <a:sysClr val="windowText" lastClr="000000"/>
      </a:dk1>
      <a:lt1>
        <a:sysClr val="window" lastClr="FFFFFF"/>
      </a:lt1>
      <a:dk2>
        <a:srgbClr val="000099"/>
      </a:dk2>
      <a:lt2>
        <a:srgbClr val="FF8F0F"/>
      </a:lt2>
      <a:accent1>
        <a:srgbClr val="E5DFDA"/>
      </a:accent1>
      <a:accent2>
        <a:srgbClr val="87C242"/>
      </a:accent2>
      <a:accent3>
        <a:srgbClr val="5EE5D6"/>
      </a:accent3>
      <a:accent4>
        <a:srgbClr val="1796EB"/>
      </a:accent4>
      <a:accent5>
        <a:srgbClr val="FFC837"/>
      </a:accent5>
      <a:accent6>
        <a:srgbClr val="E3C299"/>
      </a:accent6>
      <a:hlink>
        <a:srgbClr val="000000"/>
      </a:hlink>
      <a:folHlink>
        <a:srgbClr val="000000"/>
      </a:folHlink>
    </a:clrScheme>
    <a:fontScheme name="EnBW">
      <a:majorFont>
        <a:latin typeface="Mark OT Medium"/>
        <a:ea typeface=""/>
        <a:cs typeface=""/>
      </a:majorFont>
      <a:minorFont>
        <a:latin typeface="EnBW DIN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2ef6001-fd14-4f09-89fd-71838cf2d528">
      <Terms xmlns="http://schemas.microsoft.com/office/infopath/2007/PartnerControls"/>
    </lcf76f155ced4ddcb4097134ff3c332f>
    <TaxCatchAll xmlns="72f2763e-5800-47bd-b0d1-f959dc06dbe0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CE91D473BD0B84884FCC528FF1682BE" ma:contentTypeVersion="15" ma:contentTypeDescription="Ein neues Dokument erstellen." ma:contentTypeScope="" ma:versionID="6252770cfbeba63b362d880b337a1aaa">
  <xsd:schema xmlns:xsd="http://www.w3.org/2001/XMLSchema" xmlns:xs="http://www.w3.org/2001/XMLSchema" xmlns:p="http://schemas.microsoft.com/office/2006/metadata/properties" xmlns:ns2="e2ef6001-fd14-4f09-89fd-71838cf2d528" xmlns:ns3="72f2763e-5800-47bd-b0d1-f959dc06dbe0" targetNamespace="http://schemas.microsoft.com/office/2006/metadata/properties" ma:root="true" ma:fieldsID="2ab6859fe618c8a76d632d7467697bea" ns2:_="" ns3:_="">
    <xsd:import namespace="e2ef6001-fd14-4f09-89fd-71838cf2d528"/>
    <xsd:import namespace="72f2763e-5800-47bd-b0d1-f959dc06dbe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ef6001-fd14-4f09-89fd-71838cf2d52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edc9490c-4a27-4737-b814-fbfca88d1f5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description="" ma:indexed="true" ma:internalName="MediaServiceLocation" ma:readOnly="true">
      <xsd:simpleType>
        <xsd:restriction base="dms:Text"/>
      </xsd:simpleType>
    </xsd:element>
    <xsd:element name="MediaServiceObjectDetectorVersions" ma:index="2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f2763e-5800-47bd-b0d1-f959dc06dbe0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8d755fb1-9f05-4550-a8cb-ac4fb84df083}" ma:internalName="TaxCatchAll" ma:showField="CatchAllData" ma:web="72f2763e-5800-47bd-b0d1-f959dc06dbe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A9859A3-4A4C-477D-8B09-01744063702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078EC9A-143A-40B1-AFDB-626E1455AB49}">
  <ds:schemaRefs>
    <ds:schemaRef ds:uri="172d0ffc-d686-45da-894e-afeefd756c93"/>
    <ds:schemaRef ds:uri="6cb0d9fb-1d88-4a6e-9af2-b0912939332c"/>
    <ds:schemaRef ds:uri="72f2763e-5800-47bd-b0d1-f959dc06dbe0"/>
    <ds:schemaRef ds:uri="e2ef6001-fd14-4f09-89fd-71838cf2d528"/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85EF56FB-90DC-409C-99D1-3C198F856B25}"/>
</file>

<file path=docProps/app.xml><?xml version="1.0" encoding="utf-8"?>
<Properties xmlns="http://schemas.openxmlformats.org/officeDocument/2006/extended-properties" xmlns:vt="http://schemas.openxmlformats.org/officeDocument/2006/docPropsVTypes">
  <Template>Master_NetCom BW_17082023</Template>
  <TotalTime>0</TotalTime>
  <Words>1621</Words>
  <Application>Microsoft Office PowerPoint</Application>
  <PresentationFormat>Breitbild</PresentationFormat>
  <Paragraphs>341</Paragraphs>
  <Slides>17</Slides>
  <Notes>10</Notes>
  <HiddenSlides>8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7" baseType="lpstr">
      <vt:lpstr>Arial</vt:lpstr>
      <vt:lpstr>Calibri</vt:lpstr>
      <vt:lpstr>DIN-Regular</vt:lpstr>
      <vt:lpstr>EnBW DIN Pro</vt:lpstr>
      <vt:lpstr>EnBW DIN Pro Medium</vt:lpstr>
      <vt:lpstr>Mark OT Medium</vt:lpstr>
      <vt:lpstr>Wingdings</vt:lpstr>
      <vt:lpstr>Wingdings 2</vt:lpstr>
      <vt:lpstr>Master NetCom BW 2023</vt:lpstr>
      <vt:lpstr>think-cell Folie</vt:lpstr>
      <vt:lpstr>Schnelles Internet für Sauldorf</vt:lpstr>
      <vt:lpstr>Das ist die NetCom BW</vt:lpstr>
      <vt:lpstr>Unser Glasfasernetz: die Basis für Ihre Kommunikation</vt:lpstr>
      <vt:lpstr>Ihr Weg ins Glasfaserland</vt:lpstr>
      <vt:lpstr>Erste Schritte zum Glasfaseranschluss</vt:lpstr>
      <vt:lpstr>Angebote für Privatkunden</vt:lpstr>
      <vt:lpstr>Angebote für Privatkunden</vt:lpstr>
      <vt:lpstr>Telefonie-Optionen</vt:lpstr>
      <vt:lpstr>Auswahl Standardrouter – Premiumrouter</vt:lpstr>
      <vt:lpstr>Machen Sie mehr aus Ihrem Internetanschluss</vt:lpstr>
      <vt:lpstr>IPTV – Unsere vollwertige Lösung für Fernsehen in HD-Qualität </vt:lpstr>
      <vt:lpstr>Ihr regionaler Ansprechpartner</vt:lpstr>
      <vt:lpstr>Angebote für Geschäftskunden</vt:lpstr>
      <vt:lpstr>Unsere Services und Lösungen für Sie – maßgeschneidert und zuverlässig</vt:lpstr>
      <vt:lpstr>GLASFASER.professional</vt:lpstr>
      <vt:lpstr>Kurz und knapp: ComBusiness phone</vt:lpstr>
      <vt:lpstr>Wir sorgen für starke Verbindungen!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Präsentation</dc:title>
  <dc:creator>Flo Witek</dc:creator>
  <cp:lastModifiedBy>Haberlandt Benjamin</cp:lastModifiedBy>
  <cp:revision>2</cp:revision>
  <dcterms:created xsi:type="dcterms:W3CDTF">2023-08-22T07:43:49Z</dcterms:created>
  <dcterms:modified xsi:type="dcterms:W3CDTF">2024-04-10T12:39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792704DAEF45B045A3894D3402209EBB</vt:lpwstr>
  </property>
</Properties>
</file>